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"/>
  </p:notesMasterIdLst>
  <p:sldIdLst>
    <p:sldId id="257" r:id="rId2"/>
    <p:sldId id="259" r:id="rId3"/>
    <p:sldId id="258" r:id="rId4"/>
  </p:sldIdLst>
  <p:sldSz cx="9144000" cy="6858000" type="screen4x3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703EB52-E4CA-AE60-B352-7540DE7BF59B}" name="Rabelani Tshidavhu" initials="RT" userId="S::Rabelani@smartstart.org.za::72c1d60e-dcc8-4a0a-84d4-f3479c0a704d" providerId="AD"/>
  <p188:author id="{39859E74-9A0B-C1AD-DEF0-7380C4C67F2A}" name="Sane Mdlalose" initials="SM" userId="S::Sane@smartstart.org.za::25b93dcd-0291-4b4f-af5f-276160f1caed" providerId="AD"/>
  <p188:author id="{BECE5AAE-1A65-F1C4-86E7-BDB12FD0FC2E}" name="Lazola Javu" initials="LJ" userId="S::Lazola@smartstart.org.za::2d98d484-efa7-4263-8eb5-323e435c09de" providerId="AD"/>
  <p188:author id="{732539C0-0037-77CB-B532-BA73250C1DBD}" name="Jaqualine Chaurura" initials="JC" userId="S::Jaqualine@smartstart.org.za::211d6aa1-3f09-4976-8f30-deb029ed3d3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9B85"/>
    <a:srgbClr val="66FF66"/>
    <a:srgbClr val="FF03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90B1AA4-CEB2-45DF-833E-EAA0185945EE}" v="108" dt="2023-06-06T11:34:24.6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176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microsoft.com/office/2018/10/relationships/authors" Target="author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microsoft.com/office/2016/11/relationships/changesInfo" Target="changesInfos/changesInfo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zola Javu" userId="2d98d484-efa7-4263-8eb5-323e435c09de" providerId="ADAL" clId="{C90B1AA4-CEB2-45DF-833E-EAA0185945EE}"/>
    <pc:docChg chg="custSel addSld delSld modSld sldOrd replTag">
      <pc:chgData name="Lazola Javu" userId="2d98d484-efa7-4263-8eb5-323e435c09de" providerId="ADAL" clId="{C90B1AA4-CEB2-45DF-833E-EAA0185945EE}" dt="2023-06-06T11:34:52.310" v="1594" actId="1076"/>
      <pc:docMkLst>
        <pc:docMk/>
      </pc:docMkLst>
      <pc:sldChg chg="del">
        <pc:chgData name="Lazola Javu" userId="2d98d484-efa7-4263-8eb5-323e435c09de" providerId="ADAL" clId="{C90B1AA4-CEB2-45DF-833E-EAA0185945EE}" dt="2023-06-06T09:30:32.168" v="1" actId="47"/>
        <pc:sldMkLst>
          <pc:docMk/>
          <pc:sldMk cId="898916985" sldId="256"/>
        </pc:sldMkLst>
      </pc:sldChg>
      <pc:sldChg chg="addSp delSp modSp new add del mod">
        <pc:chgData name="Lazola Javu" userId="2d98d484-efa7-4263-8eb5-323e435c09de" providerId="ADAL" clId="{C90B1AA4-CEB2-45DF-833E-EAA0185945EE}" dt="2023-06-06T09:33:29.983" v="324" actId="47"/>
        <pc:sldMkLst>
          <pc:docMk/>
          <pc:sldMk cId="1190298021" sldId="256"/>
        </pc:sldMkLst>
        <pc:spChg chg="mod">
          <ac:chgData name="Lazola Javu" userId="2d98d484-efa7-4263-8eb5-323e435c09de" providerId="ADAL" clId="{C90B1AA4-CEB2-45DF-833E-EAA0185945EE}" dt="2023-06-06T09:32:25.058" v="179" actId="948"/>
          <ac:spMkLst>
            <pc:docMk/>
            <pc:sldMk cId="1190298021" sldId="256"/>
            <ac:spMk id="2" creationId="{042D840C-077D-36E3-FAF7-C955D6537E55}"/>
          </ac:spMkLst>
        </pc:spChg>
        <pc:spChg chg="mod">
          <ac:chgData name="Lazola Javu" userId="2d98d484-efa7-4263-8eb5-323e435c09de" providerId="ADAL" clId="{C90B1AA4-CEB2-45DF-833E-EAA0185945EE}" dt="2023-06-06T09:33:08.571" v="305" actId="20577"/>
          <ac:spMkLst>
            <pc:docMk/>
            <pc:sldMk cId="1190298021" sldId="256"/>
            <ac:spMk id="3" creationId="{690DC3E2-B47F-6C30-D255-9AAACF7D2729}"/>
          </ac:spMkLst>
        </pc:spChg>
        <pc:spChg chg="add del mod modVis">
          <ac:chgData name="Lazola Javu" userId="2d98d484-efa7-4263-8eb5-323e435c09de" providerId="ADAL" clId="{C90B1AA4-CEB2-45DF-833E-EAA0185945EE}" dt="2023-06-06T09:32:21.465" v="119"/>
          <ac:spMkLst>
            <pc:docMk/>
            <pc:sldMk cId="1190298021" sldId="256"/>
            <ac:spMk id="5" creationId="{543CA291-1200-7AAB-8610-234A77C922CB}"/>
          </ac:spMkLst>
        </pc:spChg>
        <pc:spChg chg="add del mod modVis">
          <ac:chgData name="Lazola Javu" userId="2d98d484-efa7-4263-8eb5-323e435c09de" providerId="ADAL" clId="{C90B1AA4-CEB2-45DF-833E-EAA0185945EE}" dt="2023-06-06T09:32:23.067" v="169"/>
          <ac:spMkLst>
            <pc:docMk/>
            <pc:sldMk cId="1190298021" sldId="256"/>
            <ac:spMk id="6" creationId="{A151EF98-0C95-8A28-DC2C-7CFD391EC7CF}"/>
          </ac:spMkLst>
        </pc:spChg>
        <pc:spChg chg="add del mod modVis">
          <ac:chgData name="Lazola Javu" userId="2d98d484-efa7-4263-8eb5-323e435c09de" providerId="ADAL" clId="{C90B1AA4-CEB2-45DF-833E-EAA0185945EE}" dt="2023-06-06T09:32:25.087" v="220"/>
          <ac:spMkLst>
            <pc:docMk/>
            <pc:sldMk cId="1190298021" sldId="256"/>
            <ac:spMk id="7" creationId="{D6184D13-B295-FF08-FFD6-A7C87128EF1E}"/>
          </ac:spMkLst>
        </pc:spChg>
        <pc:graphicFrameChg chg="add mod ord modVis replST">
          <ac:chgData name="Lazola Javu" userId="2d98d484-efa7-4263-8eb5-323e435c09de" providerId="ADAL" clId="{C90B1AA4-CEB2-45DF-833E-EAA0185945EE}" dt="2023-06-06T09:32:25.089" v="222"/>
          <ac:graphicFrameMkLst>
            <pc:docMk/>
            <pc:sldMk cId="1190298021" sldId="256"/>
            <ac:graphicFrameMk id="4" creationId="{E46351DD-6533-C5E1-EDC7-DDCA958AC10C}"/>
          </ac:graphicFrameMkLst>
        </pc:graphicFrameChg>
      </pc:sldChg>
      <pc:sldChg chg="addSp delSp modSp new add mod">
        <pc:chgData name="Lazola Javu" userId="2d98d484-efa7-4263-8eb5-323e435c09de" providerId="ADAL" clId="{C90B1AA4-CEB2-45DF-833E-EAA0185945EE}" dt="2023-06-06T09:33:27.578" v="323"/>
        <pc:sldMkLst>
          <pc:docMk/>
          <pc:sldMk cId="995742748" sldId="257"/>
        </pc:sldMkLst>
        <pc:spChg chg="del">
          <ac:chgData name="Lazola Javu" userId="2d98d484-efa7-4263-8eb5-323e435c09de" providerId="ADAL" clId="{C90B1AA4-CEB2-45DF-833E-EAA0185945EE}" dt="2023-06-06T09:33:26.703" v="306" actId="478"/>
          <ac:spMkLst>
            <pc:docMk/>
            <pc:sldMk cId="995742748" sldId="257"/>
            <ac:spMk id="2" creationId="{B293AFAA-9C9F-894C-F8BF-99510E177ED4}"/>
          </ac:spMkLst>
        </pc:spChg>
        <pc:spChg chg="del">
          <ac:chgData name="Lazola Javu" userId="2d98d484-efa7-4263-8eb5-323e435c09de" providerId="ADAL" clId="{C90B1AA4-CEB2-45DF-833E-EAA0185945EE}" dt="2023-06-06T09:33:26.703" v="306" actId="478"/>
          <ac:spMkLst>
            <pc:docMk/>
            <pc:sldMk cId="995742748" sldId="257"/>
            <ac:spMk id="3" creationId="{7C628568-0CE6-15C8-1F55-89D4A3A867C1}"/>
          </ac:spMkLst>
        </pc:spChg>
        <pc:spChg chg="add mod">
          <ac:chgData name="Lazola Javu" userId="2d98d484-efa7-4263-8eb5-323e435c09de" providerId="ADAL" clId="{C90B1AA4-CEB2-45DF-833E-EAA0185945EE}" dt="2023-06-06T09:33:27.578" v="323"/>
          <ac:spMkLst>
            <pc:docMk/>
            <pc:sldMk cId="995742748" sldId="257"/>
            <ac:spMk id="5" creationId="{5A40A464-3FF0-9E4C-27BD-8ABE10A83103}"/>
          </ac:spMkLst>
        </pc:spChg>
        <pc:spChg chg="add mod">
          <ac:chgData name="Lazola Javu" userId="2d98d484-efa7-4263-8eb5-323e435c09de" providerId="ADAL" clId="{C90B1AA4-CEB2-45DF-833E-EAA0185945EE}" dt="2023-06-06T09:33:27.578" v="323"/>
          <ac:spMkLst>
            <pc:docMk/>
            <pc:sldMk cId="995742748" sldId="257"/>
            <ac:spMk id="6" creationId="{580E8624-788B-FF32-BFC7-4AA5101318F7}"/>
          </ac:spMkLst>
        </pc:spChg>
        <pc:graphicFrameChg chg="add mod modVis replST">
          <ac:chgData name="Lazola Javu" userId="2d98d484-efa7-4263-8eb5-323e435c09de" providerId="ADAL" clId="{C90B1AA4-CEB2-45DF-833E-EAA0185945EE}" dt="2023-06-06T09:33:27.238" v="322"/>
          <ac:graphicFrameMkLst>
            <pc:docMk/>
            <pc:sldMk cId="995742748" sldId="257"/>
            <ac:graphicFrameMk id="4" creationId="{76F609AC-363A-3417-8342-AD083737591E}"/>
          </ac:graphicFrameMkLst>
        </pc:graphicFrameChg>
      </pc:sldChg>
      <pc:sldChg chg="del">
        <pc:chgData name="Lazola Javu" userId="2d98d484-efa7-4263-8eb5-323e435c09de" providerId="ADAL" clId="{C90B1AA4-CEB2-45DF-833E-EAA0185945EE}" dt="2023-06-06T09:30:31.698" v="0" actId="47"/>
        <pc:sldMkLst>
          <pc:docMk/>
          <pc:sldMk cId="4134337442" sldId="257"/>
        </pc:sldMkLst>
      </pc:sldChg>
      <pc:sldChg chg="del">
        <pc:chgData name="Lazola Javu" userId="2d98d484-efa7-4263-8eb5-323e435c09de" providerId="ADAL" clId="{C90B1AA4-CEB2-45DF-833E-EAA0185945EE}" dt="2023-06-06T09:30:32.191" v="2" actId="47"/>
        <pc:sldMkLst>
          <pc:docMk/>
          <pc:sldMk cId="2361142173" sldId="258"/>
        </pc:sldMkLst>
      </pc:sldChg>
      <pc:sldChg chg="addSp delSp modSp new add mod ord">
        <pc:chgData name="Lazola Javu" userId="2d98d484-efa7-4263-8eb5-323e435c09de" providerId="ADAL" clId="{C90B1AA4-CEB2-45DF-833E-EAA0185945EE}" dt="2023-06-06T11:34:52.310" v="1594" actId="1076"/>
        <pc:sldMkLst>
          <pc:docMk/>
          <pc:sldMk cId="3108855166" sldId="258"/>
        </pc:sldMkLst>
        <pc:spChg chg="mod">
          <ac:chgData name="Lazola Javu" userId="2d98d484-efa7-4263-8eb5-323e435c09de" providerId="ADAL" clId="{C90B1AA4-CEB2-45DF-833E-EAA0185945EE}" dt="2023-06-06T11:34:24.659" v="1548" actId="948"/>
          <ac:spMkLst>
            <pc:docMk/>
            <pc:sldMk cId="3108855166" sldId="258"/>
            <ac:spMk id="2" creationId="{61C25152-8D8C-FD0C-CDD2-60B643AB68D5}"/>
          </ac:spMkLst>
        </pc:spChg>
        <pc:spChg chg="del">
          <ac:chgData name="Lazola Javu" userId="2d98d484-efa7-4263-8eb5-323e435c09de" providerId="ADAL" clId="{C90B1AA4-CEB2-45DF-833E-EAA0185945EE}" dt="2023-06-06T09:33:45.226" v="327" actId="478"/>
          <ac:spMkLst>
            <pc:docMk/>
            <pc:sldMk cId="3108855166" sldId="258"/>
            <ac:spMk id="3" creationId="{97DB2659-3064-749D-6413-A05A85966943}"/>
          </ac:spMkLst>
        </pc:spChg>
        <pc:spChg chg="add del mod modVis">
          <ac:chgData name="Lazola Javu" userId="2d98d484-efa7-4263-8eb5-323e435c09de" providerId="ADAL" clId="{C90B1AA4-CEB2-45DF-833E-EAA0185945EE}" dt="2023-06-06T11:33:51.916" v="1443"/>
          <ac:spMkLst>
            <pc:docMk/>
            <pc:sldMk cId="3108855166" sldId="258"/>
            <ac:spMk id="11" creationId="{C748D0CA-7D6C-4F31-E4A5-832168E51FDE}"/>
          </ac:spMkLst>
        </pc:spChg>
        <pc:spChg chg="add del mod modVis">
          <ac:chgData name="Lazola Javu" userId="2d98d484-efa7-4263-8eb5-323e435c09de" providerId="ADAL" clId="{C90B1AA4-CEB2-45DF-833E-EAA0185945EE}" dt="2023-06-06T11:33:53.676" v="1490"/>
          <ac:spMkLst>
            <pc:docMk/>
            <pc:sldMk cId="3108855166" sldId="258"/>
            <ac:spMk id="12" creationId="{24C2AD62-7299-2BC1-E97F-6D4424926E91}"/>
          </ac:spMkLst>
        </pc:spChg>
        <pc:spChg chg="add del mod modVis">
          <ac:chgData name="Lazola Javu" userId="2d98d484-efa7-4263-8eb5-323e435c09de" providerId="ADAL" clId="{C90B1AA4-CEB2-45DF-833E-EAA0185945EE}" dt="2023-06-06T11:34:23.371" v="1539"/>
          <ac:spMkLst>
            <pc:docMk/>
            <pc:sldMk cId="3108855166" sldId="258"/>
            <ac:spMk id="13" creationId="{5D5C2EEB-C24E-0027-5463-95F52DE09AE5}"/>
          </ac:spMkLst>
        </pc:spChg>
        <pc:spChg chg="add del mod modVis">
          <ac:chgData name="Lazola Javu" userId="2d98d484-efa7-4263-8eb5-323e435c09de" providerId="ADAL" clId="{C90B1AA4-CEB2-45DF-833E-EAA0185945EE}" dt="2023-06-06T11:34:24.689" v="1589"/>
          <ac:spMkLst>
            <pc:docMk/>
            <pc:sldMk cId="3108855166" sldId="258"/>
            <ac:spMk id="14" creationId="{9356B1B3-355E-8B83-36E1-9B33A565E8F6}"/>
          </ac:spMkLst>
        </pc:spChg>
        <pc:graphicFrameChg chg="add mod ord modVis replST">
          <ac:chgData name="Lazola Javu" userId="2d98d484-efa7-4263-8eb5-323e435c09de" providerId="ADAL" clId="{C90B1AA4-CEB2-45DF-833E-EAA0185945EE}" dt="2023-06-06T11:34:24.691" v="1591"/>
          <ac:graphicFrameMkLst>
            <pc:docMk/>
            <pc:sldMk cId="3108855166" sldId="258"/>
            <ac:graphicFrameMk id="4" creationId="{9410EA6A-033D-0A3D-A3E6-430CF354274B}"/>
          </ac:graphicFrameMkLst>
        </pc:graphicFrameChg>
        <pc:picChg chg="add mod">
          <ac:chgData name="Lazola Javu" userId="2d98d484-efa7-4263-8eb5-323e435c09de" providerId="ADAL" clId="{C90B1AA4-CEB2-45DF-833E-EAA0185945EE}" dt="2023-06-06T11:34:29.798" v="1592" actId="1076"/>
          <ac:picMkLst>
            <pc:docMk/>
            <pc:sldMk cId="3108855166" sldId="258"/>
            <ac:picMk id="6" creationId="{522CA213-3155-5953-0256-D946CCC61F65}"/>
          </ac:picMkLst>
        </pc:picChg>
        <pc:picChg chg="add mod">
          <ac:chgData name="Lazola Javu" userId="2d98d484-efa7-4263-8eb5-323e435c09de" providerId="ADAL" clId="{C90B1AA4-CEB2-45DF-833E-EAA0185945EE}" dt="2023-06-06T11:34:52.310" v="1594" actId="1076"/>
          <ac:picMkLst>
            <pc:docMk/>
            <pc:sldMk cId="3108855166" sldId="258"/>
            <ac:picMk id="8" creationId="{FC3D9679-275E-5CE2-B6EA-3B0599CA7800}"/>
          </ac:picMkLst>
        </pc:picChg>
        <pc:picChg chg="add mod">
          <ac:chgData name="Lazola Javu" userId="2d98d484-efa7-4263-8eb5-323e435c09de" providerId="ADAL" clId="{C90B1AA4-CEB2-45DF-833E-EAA0185945EE}" dt="2023-06-06T11:34:50.532" v="1593" actId="1076"/>
          <ac:picMkLst>
            <pc:docMk/>
            <pc:sldMk cId="3108855166" sldId="258"/>
            <ac:picMk id="10" creationId="{9885D29F-C65A-61CC-7A53-FE6238D38864}"/>
          </ac:picMkLst>
        </pc:picChg>
      </pc:sldChg>
      <pc:sldChg chg="del">
        <pc:chgData name="Lazola Javu" userId="2d98d484-efa7-4263-8eb5-323e435c09de" providerId="ADAL" clId="{C90B1AA4-CEB2-45DF-833E-EAA0185945EE}" dt="2023-06-06T09:30:32.220" v="3" actId="47"/>
        <pc:sldMkLst>
          <pc:docMk/>
          <pc:sldMk cId="69800980" sldId="259"/>
        </pc:sldMkLst>
      </pc:sldChg>
      <pc:sldChg chg="addSp delSp modSp new add mod">
        <pc:chgData name="Lazola Javu" userId="2d98d484-efa7-4263-8eb5-323e435c09de" providerId="ADAL" clId="{C90B1AA4-CEB2-45DF-833E-EAA0185945EE}" dt="2023-06-06T11:28:23.840" v="1365" actId="20577"/>
        <pc:sldMkLst>
          <pc:docMk/>
          <pc:sldMk cId="4142728032" sldId="259"/>
        </pc:sldMkLst>
        <pc:spChg chg="mod">
          <ac:chgData name="Lazola Javu" userId="2d98d484-efa7-4263-8eb5-323e435c09de" providerId="ADAL" clId="{C90B1AA4-CEB2-45DF-833E-EAA0185945EE}" dt="2023-06-06T11:23:32.647" v="1118" actId="948"/>
          <ac:spMkLst>
            <pc:docMk/>
            <pc:sldMk cId="4142728032" sldId="259"/>
            <ac:spMk id="2" creationId="{B2CC1BC5-2541-EB4D-BF2D-C6B8DC21DF13}"/>
          </ac:spMkLst>
        </pc:spChg>
        <pc:spChg chg="del mod">
          <ac:chgData name="Lazola Javu" userId="2d98d484-efa7-4263-8eb5-323e435c09de" providerId="ADAL" clId="{C90B1AA4-CEB2-45DF-833E-EAA0185945EE}" dt="2023-06-06T11:13:10.318" v="367" actId="478"/>
          <ac:spMkLst>
            <pc:docMk/>
            <pc:sldMk cId="4142728032" sldId="259"/>
            <ac:spMk id="3" creationId="{52788270-0438-E471-CB15-DE74CCFDC5B9}"/>
          </ac:spMkLst>
        </pc:spChg>
        <pc:spChg chg="add del">
          <ac:chgData name="Lazola Javu" userId="2d98d484-efa7-4263-8eb5-323e435c09de" providerId="ADAL" clId="{C90B1AA4-CEB2-45DF-833E-EAA0185945EE}" dt="2023-06-06T11:18:37.564" v="377" actId="478"/>
          <ac:spMkLst>
            <pc:docMk/>
            <pc:sldMk cId="4142728032" sldId="259"/>
            <ac:spMk id="6" creationId="{42CCA68C-D311-DD54-9D69-8F0FA944C1F4}"/>
          </ac:spMkLst>
        </pc:spChg>
        <pc:spChg chg="add mod">
          <ac:chgData name="Lazola Javu" userId="2d98d484-efa7-4263-8eb5-323e435c09de" providerId="ADAL" clId="{C90B1AA4-CEB2-45DF-833E-EAA0185945EE}" dt="2023-06-06T11:19:22.163" v="419" actId="1076"/>
          <ac:spMkLst>
            <pc:docMk/>
            <pc:sldMk cId="4142728032" sldId="259"/>
            <ac:spMk id="7" creationId="{DAA8BDF5-2DCA-45C2-2003-194A95D3B7B2}"/>
          </ac:spMkLst>
        </pc:spChg>
        <pc:spChg chg="add mod">
          <ac:chgData name="Lazola Javu" userId="2d98d484-efa7-4263-8eb5-323e435c09de" providerId="ADAL" clId="{C90B1AA4-CEB2-45DF-833E-EAA0185945EE}" dt="2023-06-06T11:20:59.631" v="514" actId="14100"/>
          <ac:spMkLst>
            <pc:docMk/>
            <pc:sldMk cId="4142728032" sldId="259"/>
            <ac:spMk id="8" creationId="{01FA1946-2204-8F68-B808-228CDF89B247}"/>
          </ac:spMkLst>
        </pc:spChg>
        <pc:spChg chg="add mod">
          <ac:chgData name="Lazola Javu" userId="2d98d484-efa7-4263-8eb5-323e435c09de" providerId="ADAL" clId="{C90B1AA4-CEB2-45DF-833E-EAA0185945EE}" dt="2023-06-06T11:22:19.555" v="622" actId="20577"/>
          <ac:spMkLst>
            <pc:docMk/>
            <pc:sldMk cId="4142728032" sldId="259"/>
            <ac:spMk id="20" creationId="{8634CCB3-9161-A595-62DC-D50A2FD4B5EB}"/>
          </ac:spMkLst>
        </pc:spChg>
        <pc:spChg chg="add mod">
          <ac:chgData name="Lazola Javu" userId="2d98d484-efa7-4263-8eb5-323e435c09de" providerId="ADAL" clId="{C90B1AA4-CEB2-45DF-833E-EAA0185945EE}" dt="2023-06-06T11:23:09.871" v="671" actId="20577"/>
          <ac:spMkLst>
            <pc:docMk/>
            <pc:sldMk cId="4142728032" sldId="259"/>
            <ac:spMk id="22" creationId="{13E1E6F5-F36B-623B-77C9-6C7641AEE44F}"/>
          </ac:spMkLst>
        </pc:spChg>
        <pc:spChg chg="add del mod modVis">
          <ac:chgData name="Lazola Javu" userId="2d98d484-efa7-4263-8eb5-323e435c09de" providerId="ADAL" clId="{C90B1AA4-CEB2-45DF-833E-EAA0185945EE}" dt="2023-06-06T11:23:16.436" v="728"/>
          <ac:spMkLst>
            <pc:docMk/>
            <pc:sldMk cId="4142728032" sldId="259"/>
            <ac:spMk id="25" creationId="{9AE616C4-C773-530F-DA58-3F2E8A739B07}"/>
          </ac:spMkLst>
        </pc:spChg>
        <pc:spChg chg="add del mod modVis">
          <ac:chgData name="Lazola Javu" userId="2d98d484-efa7-4263-8eb5-323e435c09de" providerId="ADAL" clId="{C90B1AA4-CEB2-45DF-833E-EAA0185945EE}" dt="2023-06-06T11:23:18.110" v="779"/>
          <ac:spMkLst>
            <pc:docMk/>
            <pc:sldMk cId="4142728032" sldId="259"/>
            <ac:spMk id="26" creationId="{3C552EA0-E446-6BF3-502F-F85DC9FC9808}"/>
          </ac:spMkLst>
        </pc:spChg>
        <pc:spChg chg="add del mod modVis">
          <ac:chgData name="Lazola Javu" userId="2d98d484-efa7-4263-8eb5-323e435c09de" providerId="ADAL" clId="{C90B1AA4-CEB2-45DF-833E-EAA0185945EE}" dt="2023-06-06T11:23:19.070" v="826"/>
          <ac:spMkLst>
            <pc:docMk/>
            <pc:sldMk cId="4142728032" sldId="259"/>
            <ac:spMk id="27" creationId="{B4FD0B15-4F7E-E605-0964-CE852FB853E0}"/>
          </ac:spMkLst>
        </pc:spChg>
        <pc:spChg chg="add del mod modVis">
          <ac:chgData name="Lazola Javu" userId="2d98d484-efa7-4263-8eb5-323e435c09de" providerId="ADAL" clId="{C90B1AA4-CEB2-45DF-833E-EAA0185945EE}" dt="2023-06-06T11:23:19.818" v="872"/>
          <ac:spMkLst>
            <pc:docMk/>
            <pc:sldMk cId="4142728032" sldId="259"/>
            <ac:spMk id="28" creationId="{027B2EBA-28E2-D945-F91F-E22F1D51B0ED}"/>
          </ac:spMkLst>
        </pc:spChg>
        <pc:spChg chg="add del mod modVis">
          <ac:chgData name="Lazola Javu" userId="2d98d484-efa7-4263-8eb5-323e435c09de" providerId="ADAL" clId="{C90B1AA4-CEB2-45DF-833E-EAA0185945EE}" dt="2023-06-06T11:23:21.216" v="921"/>
          <ac:spMkLst>
            <pc:docMk/>
            <pc:sldMk cId="4142728032" sldId="259"/>
            <ac:spMk id="29" creationId="{E5206AA7-3190-BFAF-A542-F81469AB7CCC}"/>
          </ac:spMkLst>
        </pc:spChg>
        <pc:spChg chg="add del mod modVis">
          <ac:chgData name="Lazola Javu" userId="2d98d484-efa7-4263-8eb5-323e435c09de" providerId="ADAL" clId="{C90B1AA4-CEB2-45DF-833E-EAA0185945EE}" dt="2023-06-06T11:23:22.420" v="969"/>
          <ac:spMkLst>
            <pc:docMk/>
            <pc:sldMk cId="4142728032" sldId="259"/>
            <ac:spMk id="30" creationId="{F4574108-D10D-CA0D-C7B8-D79D0763D27A}"/>
          </ac:spMkLst>
        </pc:spChg>
        <pc:spChg chg="add del mod modVis">
          <ac:chgData name="Lazola Javu" userId="2d98d484-efa7-4263-8eb5-323e435c09de" providerId="ADAL" clId="{C90B1AA4-CEB2-45DF-833E-EAA0185945EE}" dt="2023-06-06T11:23:27.105" v="1015"/>
          <ac:spMkLst>
            <pc:docMk/>
            <pc:sldMk cId="4142728032" sldId="259"/>
            <ac:spMk id="31" creationId="{A1E6F1A8-E7C1-DE20-0ED4-C986530BEEC1}"/>
          </ac:spMkLst>
        </pc:spChg>
        <pc:spChg chg="add del mod modVis">
          <ac:chgData name="Lazola Javu" userId="2d98d484-efa7-4263-8eb5-323e435c09de" providerId="ADAL" clId="{C90B1AA4-CEB2-45DF-833E-EAA0185945EE}" dt="2023-06-06T11:23:28.693" v="1066"/>
          <ac:spMkLst>
            <pc:docMk/>
            <pc:sldMk cId="4142728032" sldId="259"/>
            <ac:spMk id="32" creationId="{307457CB-836D-0D5B-0F60-8C3AB8D0D28F}"/>
          </ac:spMkLst>
        </pc:spChg>
        <pc:spChg chg="add del mod modVis">
          <ac:chgData name="Lazola Javu" userId="2d98d484-efa7-4263-8eb5-323e435c09de" providerId="ADAL" clId="{C90B1AA4-CEB2-45DF-833E-EAA0185945EE}" dt="2023-06-06T11:23:30.050" v="1114"/>
          <ac:spMkLst>
            <pc:docMk/>
            <pc:sldMk cId="4142728032" sldId="259"/>
            <ac:spMk id="33" creationId="{FEDE61B2-CF6F-7BBE-5123-7FF70EAE5840}"/>
          </ac:spMkLst>
        </pc:spChg>
        <pc:spChg chg="add del mod modVis">
          <ac:chgData name="Lazola Javu" userId="2d98d484-efa7-4263-8eb5-323e435c09de" providerId="ADAL" clId="{C90B1AA4-CEB2-45DF-833E-EAA0185945EE}" dt="2023-06-06T11:23:32.675" v="1159"/>
          <ac:spMkLst>
            <pc:docMk/>
            <pc:sldMk cId="4142728032" sldId="259"/>
            <ac:spMk id="34" creationId="{92F24321-69AA-180C-F32C-B0B3B98B24F8}"/>
          </ac:spMkLst>
        </pc:spChg>
        <pc:spChg chg="add mod">
          <ac:chgData name="Lazola Javu" userId="2d98d484-efa7-4263-8eb5-323e435c09de" providerId="ADAL" clId="{C90B1AA4-CEB2-45DF-833E-EAA0185945EE}" dt="2023-06-06T11:25:30.991" v="1168" actId="1582"/>
          <ac:spMkLst>
            <pc:docMk/>
            <pc:sldMk cId="4142728032" sldId="259"/>
            <ac:spMk id="35" creationId="{55D2529C-44B8-9665-B346-0EDB20B5D723}"/>
          </ac:spMkLst>
        </pc:spChg>
        <pc:spChg chg="add mod">
          <ac:chgData name="Lazola Javu" userId="2d98d484-efa7-4263-8eb5-323e435c09de" providerId="ADAL" clId="{C90B1AA4-CEB2-45DF-833E-EAA0185945EE}" dt="2023-06-06T11:26:02.007" v="1173" actId="1076"/>
          <ac:spMkLst>
            <pc:docMk/>
            <pc:sldMk cId="4142728032" sldId="259"/>
            <ac:spMk id="36" creationId="{C7A72932-1B58-9893-A900-32F2675CA82F}"/>
          </ac:spMkLst>
        </pc:spChg>
        <pc:spChg chg="add del mod">
          <ac:chgData name="Lazola Javu" userId="2d98d484-efa7-4263-8eb5-323e435c09de" providerId="ADAL" clId="{C90B1AA4-CEB2-45DF-833E-EAA0185945EE}" dt="2023-06-06T11:27:15.556" v="1204" actId="478"/>
          <ac:spMkLst>
            <pc:docMk/>
            <pc:sldMk cId="4142728032" sldId="259"/>
            <ac:spMk id="37" creationId="{6B3C5B7C-E105-1065-6D05-F6843AE159A6}"/>
          </ac:spMkLst>
        </pc:spChg>
        <pc:spChg chg="add mod">
          <ac:chgData name="Lazola Javu" userId="2d98d484-efa7-4263-8eb5-323e435c09de" providerId="ADAL" clId="{C90B1AA4-CEB2-45DF-833E-EAA0185945EE}" dt="2023-06-06T11:28:23.840" v="1365" actId="20577"/>
          <ac:spMkLst>
            <pc:docMk/>
            <pc:sldMk cId="4142728032" sldId="259"/>
            <ac:spMk id="38" creationId="{B8D0BDE5-BE55-C012-99C2-C6D655D58DF2}"/>
          </ac:spMkLst>
        </pc:spChg>
        <pc:graphicFrameChg chg="add mod ord modVis replST">
          <ac:chgData name="Lazola Javu" userId="2d98d484-efa7-4263-8eb5-323e435c09de" providerId="ADAL" clId="{C90B1AA4-CEB2-45DF-833E-EAA0185945EE}" dt="2023-06-06T11:23:32.677" v="1161"/>
          <ac:graphicFrameMkLst>
            <pc:docMk/>
            <pc:sldMk cId="4142728032" sldId="259"/>
            <ac:graphicFrameMk id="9" creationId="{1A635084-8C92-A0CB-A9D5-A88EE75EF841}"/>
          </ac:graphicFrameMkLst>
        </pc:graphicFrameChg>
        <pc:picChg chg="add mod">
          <ac:chgData name="Lazola Javu" userId="2d98d484-efa7-4263-8eb5-323e435c09de" providerId="ADAL" clId="{C90B1AA4-CEB2-45DF-833E-EAA0185945EE}" dt="2023-06-06T11:23:10.912" v="672" actId="1076"/>
          <ac:picMkLst>
            <pc:docMk/>
            <pc:sldMk cId="4142728032" sldId="259"/>
            <ac:picMk id="5" creationId="{75DC6FF1-7601-A8F8-ADF5-CFB1F793498D}"/>
          </ac:picMkLst>
        </pc:picChg>
        <pc:cxnChg chg="add del mod">
          <ac:chgData name="Lazola Javu" userId="2d98d484-efa7-4263-8eb5-323e435c09de" providerId="ADAL" clId="{C90B1AA4-CEB2-45DF-833E-EAA0185945EE}" dt="2023-06-06T11:21:23.468" v="537" actId="478"/>
          <ac:cxnSpMkLst>
            <pc:docMk/>
            <pc:sldMk cId="4142728032" sldId="259"/>
            <ac:cxnSpMk id="11" creationId="{A9289558-2C14-C286-4FDD-5F04370AEF44}"/>
          </ac:cxnSpMkLst>
        </pc:cxnChg>
        <pc:cxnChg chg="add mod">
          <ac:chgData name="Lazola Javu" userId="2d98d484-efa7-4263-8eb5-323e435c09de" providerId="ADAL" clId="{C90B1AA4-CEB2-45DF-833E-EAA0185945EE}" dt="2023-06-06T11:21:38.727" v="542" actId="14100"/>
          <ac:cxnSpMkLst>
            <pc:docMk/>
            <pc:sldMk cId="4142728032" sldId="259"/>
            <ac:cxnSpMk id="15" creationId="{884DBB5E-9DE7-69A1-3AFC-8DAA8A9EB35D}"/>
          </ac:cxnSpMkLst>
        </pc:cxnChg>
        <pc:cxnChg chg="add mod">
          <ac:chgData name="Lazola Javu" userId="2d98d484-efa7-4263-8eb5-323e435c09de" providerId="ADAL" clId="{C90B1AA4-CEB2-45DF-833E-EAA0185945EE}" dt="2023-06-06T11:22:51.546" v="627" actId="14100"/>
          <ac:cxnSpMkLst>
            <pc:docMk/>
            <pc:sldMk cId="4142728032" sldId="259"/>
            <ac:cxnSpMk id="21" creationId="{2FF247A4-6774-9C80-05BF-3B38A8638734}"/>
          </ac:cxnSpMkLst>
        </pc:cxnChg>
      </pc:sldChg>
      <pc:sldChg chg="del">
        <pc:chgData name="Lazola Javu" userId="2d98d484-efa7-4263-8eb5-323e435c09de" providerId="ADAL" clId="{C90B1AA4-CEB2-45DF-833E-EAA0185945EE}" dt="2023-06-06T09:30:32.266" v="4" actId="47"/>
        <pc:sldMkLst>
          <pc:docMk/>
          <pc:sldMk cId="3117561214" sldId="4321"/>
        </pc:sldMkLst>
      </pc:sldChg>
      <pc:sldChg chg="del">
        <pc:chgData name="Lazola Javu" userId="2d98d484-efa7-4263-8eb5-323e435c09de" providerId="ADAL" clId="{C90B1AA4-CEB2-45DF-833E-EAA0185945EE}" dt="2023-06-06T09:30:32.455" v="10" actId="47"/>
        <pc:sldMkLst>
          <pc:docMk/>
          <pc:sldMk cId="28675241" sldId="4329"/>
        </pc:sldMkLst>
      </pc:sldChg>
      <pc:sldChg chg="del">
        <pc:chgData name="Lazola Javu" userId="2d98d484-efa7-4263-8eb5-323e435c09de" providerId="ADAL" clId="{C90B1AA4-CEB2-45DF-833E-EAA0185945EE}" dt="2023-06-06T09:30:32.312" v="6" actId="47"/>
        <pc:sldMkLst>
          <pc:docMk/>
          <pc:sldMk cId="3995105145" sldId="4330"/>
        </pc:sldMkLst>
      </pc:sldChg>
      <pc:sldChg chg="del">
        <pc:chgData name="Lazola Javu" userId="2d98d484-efa7-4263-8eb5-323e435c09de" providerId="ADAL" clId="{C90B1AA4-CEB2-45DF-833E-EAA0185945EE}" dt="2023-06-06T09:30:32.358" v="7" actId="47"/>
        <pc:sldMkLst>
          <pc:docMk/>
          <pc:sldMk cId="1855506670" sldId="4331"/>
        </pc:sldMkLst>
      </pc:sldChg>
      <pc:sldChg chg="del">
        <pc:chgData name="Lazola Javu" userId="2d98d484-efa7-4263-8eb5-323e435c09de" providerId="ADAL" clId="{C90B1AA4-CEB2-45DF-833E-EAA0185945EE}" dt="2023-06-06T09:30:32.375" v="8" actId="47"/>
        <pc:sldMkLst>
          <pc:docMk/>
          <pc:sldMk cId="3836832540" sldId="4332"/>
        </pc:sldMkLst>
      </pc:sldChg>
      <pc:sldChg chg="del">
        <pc:chgData name="Lazola Javu" userId="2d98d484-efa7-4263-8eb5-323e435c09de" providerId="ADAL" clId="{C90B1AA4-CEB2-45DF-833E-EAA0185945EE}" dt="2023-06-06T09:30:32.417" v="9" actId="47"/>
        <pc:sldMkLst>
          <pc:docMk/>
          <pc:sldMk cId="4208687312" sldId="4333"/>
        </pc:sldMkLst>
      </pc:sldChg>
      <pc:sldChg chg="del">
        <pc:chgData name="Lazola Javu" userId="2d98d484-efa7-4263-8eb5-323e435c09de" providerId="ADAL" clId="{C90B1AA4-CEB2-45DF-833E-EAA0185945EE}" dt="2023-06-06T09:30:32.471" v="11" actId="47"/>
        <pc:sldMkLst>
          <pc:docMk/>
          <pc:sldMk cId="1585709125" sldId="4339"/>
        </pc:sldMkLst>
      </pc:sldChg>
      <pc:sldChg chg="del">
        <pc:chgData name="Lazola Javu" userId="2d98d484-efa7-4263-8eb5-323e435c09de" providerId="ADAL" clId="{C90B1AA4-CEB2-45DF-833E-EAA0185945EE}" dt="2023-06-06T09:30:32.551" v="14" actId="47"/>
        <pc:sldMkLst>
          <pc:docMk/>
          <pc:sldMk cId="708608121" sldId="4340"/>
        </pc:sldMkLst>
      </pc:sldChg>
      <pc:sldChg chg="del">
        <pc:chgData name="Lazola Javu" userId="2d98d484-efa7-4263-8eb5-323e435c09de" providerId="ADAL" clId="{C90B1AA4-CEB2-45DF-833E-EAA0185945EE}" dt="2023-06-06T09:30:32.619" v="16" actId="47"/>
        <pc:sldMkLst>
          <pc:docMk/>
          <pc:sldMk cId="1377030781" sldId="4341"/>
        </pc:sldMkLst>
      </pc:sldChg>
      <pc:sldChg chg="del">
        <pc:chgData name="Lazola Javu" userId="2d98d484-efa7-4263-8eb5-323e435c09de" providerId="ADAL" clId="{C90B1AA4-CEB2-45DF-833E-EAA0185945EE}" dt="2023-06-06T09:30:32.668" v="18" actId="47"/>
        <pc:sldMkLst>
          <pc:docMk/>
          <pc:sldMk cId="1765504016" sldId="4343"/>
        </pc:sldMkLst>
      </pc:sldChg>
      <pc:sldChg chg="del">
        <pc:chgData name="Lazola Javu" userId="2d98d484-efa7-4263-8eb5-323e435c09de" providerId="ADAL" clId="{C90B1AA4-CEB2-45DF-833E-EAA0185945EE}" dt="2023-06-06T09:30:32.284" v="5" actId="47"/>
        <pc:sldMkLst>
          <pc:docMk/>
          <pc:sldMk cId="278745436" sldId="4344"/>
        </pc:sldMkLst>
      </pc:sldChg>
      <pc:sldChg chg="del">
        <pc:chgData name="Lazola Javu" userId="2d98d484-efa7-4263-8eb5-323e435c09de" providerId="ADAL" clId="{C90B1AA4-CEB2-45DF-833E-EAA0185945EE}" dt="2023-06-06T09:30:32.587" v="15" actId="47"/>
        <pc:sldMkLst>
          <pc:docMk/>
          <pc:sldMk cId="2413787526" sldId="4346"/>
        </pc:sldMkLst>
      </pc:sldChg>
      <pc:sldChg chg="del">
        <pc:chgData name="Lazola Javu" userId="2d98d484-efa7-4263-8eb5-323e435c09de" providerId="ADAL" clId="{C90B1AA4-CEB2-45DF-833E-EAA0185945EE}" dt="2023-06-06T09:30:32.534" v="13" actId="47"/>
        <pc:sldMkLst>
          <pc:docMk/>
          <pc:sldMk cId="1321303029" sldId="4347"/>
        </pc:sldMkLst>
      </pc:sldChg>
      <pc:sldChg chg="del">
        <pc:chgData name="Lazola Javu" userId="2d98d484-efa7-4263-8eb5-323e435c09de" providerId="ADAL" clId="{C90B1AA4-CEB2-45DF-833E-EAA0185945EE}" dt="2023-06-06T09:30:32.488" v="12" actId="47"/>
        <pc:sldMkLst>
          <pc:docMk/>
          <pc:sldMk cId="348142749" sldId="4348"/>
        </pc:sldMkLst>
      </pc:sldChg>
      <pc:sldChg chg="del">
        <pc:chgData name="Lazola Javu" userId="2d98d484-efa7-4263-8eb5-323e435c09de" providerId="ADAL" clId="{C90B1AA4-CEB2-45DF-833E-EAA0185945EE}" dt="2023-06-06T09:30:32.711" v="19" actId="47"/>
        <pc:sldMkLst>
          <pc:docMk/>
          <pc:sldMk cId="1296072035" sldId="4349"/>
        </pc:sldMkLst>
      </pc:sldChg>
      <pc:sldChg chg="del">
        <pc:chgData name="Lazola Javu" userId="2d98d484-efa7-4263-8eb5-323e435c09de" providerId="ADAL" clId="{C90B1AA4-CEB2-45DF-833E-EAA0185945EE}" dt="2023-06-06T09:30:33.457" v="21" actId="47"/>
        <pc:sldMkLst>
          <pc:docMk/>
          <pc:sldMk cId="2953281723" sldId="4350"/>
        </pc:sldMkLst>
      </pc:sldChg>
      <pc:sldChg chg="del">
        <pc:chgData name="Lazola Javu" userId="2d98d484-efa7-4263-8eb5-323e435c09de" providerId="ADAL" clId="{C90B1AA4-CEB2-45DF-833E-EAA0185945EE}" dt="2023-06-06T09:30:32.727" v="20" actId="47"/>
        <pc:sldMkLst>
          <pc:docMk/>
          <pc:sldMk cId="397142340" sldId="4351"/>
        </pc:sldMkLst>
      </pc:sldChg>
      <pc:sldChg chg="del">
        <pc:chgData name="Lazola Javu" userId="2d98d484-efa7-4263-8eb5-323e435c09de" providerId="ADAL" clId="{C90B1AA4-CEB2-45DF-833E-EAA0185945EE}" dt="2023-06-06T09:30:32.637" v="17" actId="47"/>
        <pc:sldMkLst>
          <pc:docMk/>
          <pc:sldMk cId="1919527979" sldId="4354"/>
        </pc:sldMkLst>
      </pc:sldChg>
      <pc:sldChg chg="del">
        <pc:chgData name="Lazola Javu" userId="2d98d484-efa7-4263-8eb5-323e435c09de" providerId="ADAL" clId="{C90B1AA4-CEB2-45DF-833E-EAA0185945EE}" dt="2023-06-06T09:30:35.300" v="22" actId="47"/>
        <pc:sldMkLst>
          <pc:docMk/>
          <pc:sldMk cId="2600243721" sldId="4355"/>
        </pc:sldMkLst>
      </pc:sldChg>
      <pc:sldMasterChg chg="delSldLayout">
        <pc:chgData name="Lazola Javu" userId="2d98d484-efa7-4263-8eb5-323e435c09de" providerId="ADAL" clId="{C90B1AA4-CEB2-45DF-833E-EAA0185945EE}" dt="2023-06-06T09:30:32.455" v="10" actId="47"/>
        <pc:sldMasterMkLst>
          <pc:docMk/>
          <pc:sldMasterMk cId="1776777661" sldId="2147483648"/>
        </pc:sldMasterMkLst>
        <pc:sldLayoutChg chg="del">
          <pc:chgData name="Lazola Javu" userId="2d98d484-efa7-4263-8eb5-323e435c09de" providerId="ADAL" clId="{C90B1AA4-CEB2-45DF-833E-EAA0185945EE}" dt="2023-06-06T09:30:32.455" v="10" actId="47"/>
          <pc:sldLayoutMkLst>
            <pc:docMk/>
            <pc:sldMasterMk cId="1776777661" sldId="2147483648"/>
            <pc:sldLayoutMk cId="1104020596" sldId="2147483696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648657-6361-444B-9B45-A216F4A637C6}" type="datetimeFigureOut">
              <a:rPr lang="en-GB" smtClean="0"/>
              <a:t>05/06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02B74F-E8BA-FB46-B177-017003EAD8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06679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8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TARS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4962" y="4908926"/>
            <a:ext cx="6601103" cy="179596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84123" y="660400"/>
            <a:ext cx="7772400" cy="70792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4123" y="1526459"/>
            <a:ext cx="7772400" cy="4446639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000"/>
              </a:spcBef>
              <a:buNone/>
              <a:defRPr cap="none" spc="50" baseline="0">
                <a:solidFill>
                  <a:schemeClr val="tx1"/>
                </a:solidFill>
              </a:defRPr>
            </a:lvl1pPr>
            <a:lvl2pPr marL="457200" indent="0" algn="l">
              <a:lnSpc>
                <a:spcPct val="120000"/>
              </a:lnSpc>
              <a:spcBef>
                <a:spcPts val="1000"/>
              </a:spcBef>
              <a:buNone/>
              <a:defRPr cap="none" spc="50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z="1800" spc="30">
                <a:solidFill>
                  <a:srgbClr val="583F99"/>
                </a:solidFill>
                <a:latin typeface="Calibri Light"/>
                <a:cs typeface="Calibri Light"/>
              </a:rPr>
              <a:t>LIST THE PRESENTATION CONTENTS </a:t>
            </a:r>
            <a:r>
              <a:rPr lang="en-US" sz="1800" b="1" spc="30">
                <a:solidFill>
                  <a:srgbClr val="583F99"/>
                </a:solidFill>
                <a:latin typeface="Calibri"/>
                <a:cs typeface="Calibri"/>
              </a:rPr>
              <a:t>IN SECTIONS</a:t>
            </a:r>
          </a:p>
          <a:p>
            <a:r>
              <a:rPr lang="en-US" sz="1800" spc="30">
                <a:solidFill>
                  <a:srgbClr val="583F99"/>
                </a:solidFill>
                <a:latin typeface="Calibri Light"/>
                <a:cs typeface="Calibri Light"/>
              </a:rPr>
              <a:t>IN 18PT CAPS USING </a:t>
            </a:r>
            <a:r>
              <a:rPr lang="en-US" sz="1800" b="1" spc="30">
                <a:solidFill>
                  <a:srgbClr val="583F99"/>
                </a:solidFill>
                <a:latin typeface="Calibri"/>
                <a:cs typeface="Calibri"/>
              </a:rPr>
              <a:t>CALIBRI BOLD AND LIGHT</a:t>
            </a:r>
          </a:p>
          <a:p>
            <a:r>
              <a:rPr lang="en-US" sz="1800" spc="30">
                <a:solidFill>
                  <a:srgbClr val="583F99"/>
                </a:solidFill>
                <a:latin typeface="Calibri Light"/>
                <a:cs typeface="Calibri Light"/>
              </a:rPr>
              <a:t>IF YOU HAVE </a:t>
            </a:r>
            <a:r>
              <a:rPr lang="en-US" sz="1800" b="1" spc="30">
                <a:solidFill>
                  <a:srgbClr val="583F99"/>
                </a:solidFill>
                <a:latin typeface="Calibri"/>
                <a:cs typeface="Calibri"/>
              </a:rPr>
              <a:t>SUBSECTIONS </a:t>
            </a:r>
          </a:p>
          <a:p>
            <a:pPr lvl="1"/>
            <a:r>
              <a:rPr lang="en-US" sz="1800" spc="30">
                <a:solidFill>
                  <a:srgbClr val="583F99"/>
                </a:solidFill>
                <a:latin typeface="Calibri Light"/>
                <a:cs typeface="Calibri Light"/>
              </a:rPr>
              <a:t>… List them in sentence case</a:t>
            </a:r>
          </a:p>
          <a:p>
            <a:pPr lvl="1"/>
            <a:r>
              <a:rPr lang="en-US" sz="1800" spc="30">
                <a:solidFill>
                  <a:srgbClr val="583F99"/>
                </a:solidFill>
                <a:latin typeface="Calibri Light"/>
                <a:cs typeface="Calibri Light"/>
              </a:rPr>
              <a:t>… Using Calibri Light</a:t>
            </a:r>
          </a:p>
          <a:p>
            <a:pPr lvl="1"/>
            <a:r>
              <a:rPr lang="en-US" sz="1800" spc="30">
                <a:solidFill>
                  <a:srgbClr val="583F99"/>
                </a:solidFill>
                <a:latin typeface="Calibri Light"/>
                <a:cs typeface="Calibri Light"/>
              </a:rPr>
              <a:t>… With these bullets</a:t>
            </a:r>
          </a:p>
          <a:p>
            <a:r>
              <a:rPr lang="en-US" sz="1800" spc="30">
                <a:solidFill>
                  <a:srgbClr val="583F99"/>
                </a:solidFill>
                <a:latin typeface="Calibri Light"/>
                <a:cs typeface="Calibri Light"/>
              </a:rPr>
              <a:t>YOU CAN ADD THE STAR GRAPHIC BELOW </a:t>
            </a:r>
            <a:r>
              <a:rPr lang="en-US" sz="1800" b="1" spc="30">
                <a:solidFill>
                  <a:srgbClr val="583F99"/>
                </a:solidFill>
                <a:cs typeface="Calibri"/>
              </a:rPr>
              <a:t>IF YOU HAVE SPACE</a:t>
            </a:r>
          </a:p>
        </p:txBody>
      </p:sp>
      <p:pic>
        <p:nvPicPr>
          <p:cNvPr id="8" name="Picture 7" descr="logo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3846" y="5900897"/>
            <a:ext cx="1530917" cy="40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3565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01687" y="359308"/>
            <a:ext cx="7885114" cy="461962"/>
          </a:xfrm>
        </p:spPr>
        <p:txBody>
          <a:bodyPr/>
          <a:lstStyle/>
          <a:p>
            <a:r>
              <a:rPr lang="en-US"/>
              <a:t>Click to edit 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01687" y="2051052"/>
            <a:ext cx="7885114" cy="4075113"/>
          </a:xfrm>
        </p:spPr>
        <p:txBody>
          <a:bodyPr/>
          <a:lstStyle>
            <a:lvl1pPr marL="0" indent="0">
              <a:lnSpc>
                <a:spcPts val="2000"/>
              </a:lnSpc>
              <a:buFontTx/>
              <a:buNone/>
              <a:defRPr spc="50" baseline="0"/>
            </a:lvl1pPr>
            <a:lvl2pPr marL="0" indent="0">
              <a:lnSpc>
                <a:spcPts val="2000"/>
              </a:lnSpc>
              <a:buFontTx/>
              <a:buNone/>
              <a:defRPr spc="50" baseline="0"/>
            </a:lvl2pPr>
            <a:lvl3pPr marL="0" indent="0">
              <a:lnSpc>
                <a:spcPts val="2000"/>
              </a:lnSpc>
              <a:buFontTx/>
              <a:buNone/>
              <a:defRPr spc="50" baseline="0"/>
            </a:lvl3pPr>
            <a:lvl4pPr marL="0" indent="0">
              <a:lnSpc>
                <a:spcPts val="2000"/>
              </a:lnSpc>
              <a:buFontTx/>
              <a:buNone/>
              <a:defRPr spc="50" baseline="0"/>
            </a:lvl4pPr>
            <a:lvl5pPr marL="0" indent="0">
              <a:lnSpc>
                <a:spcPts val="2000"/>
              </a:lnSpc>
              <a:buFontTx/>
              <a:buNone/>
              <a:defRPr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star_purpl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952"/>
          <a:stretch/>
        </p:blipFill>
        <p:spPr>
          <a:xfrm>
            <a:off x="-1" y="639993"/>
            <a:ext cx="801687" cy="778714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01688" y="687920"/>
            <a:ext cx="7885112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 cap="all" spc="50" baseline="0"/>
            </a:lvl1pPr>
            <a:lvl2pPr marL="0" indent="0">
              <a:buFontTx/>
              <a:buNone/>
              <a:defRPr sz="2400" cap="all" baseline="0"/>
            </a:lvl2pPr>
            <a:lvl3pPr marL="0" indent="0">
              <a:buFontTx/>
              <a:buNone/>
              <a:defRPr sz="2400" cap="all" baseline="0"/>
            </a:lvl3pPr>
            <a:lvl4pPr marL="0" indent="0">
              <a:buFontTx/>
              <a:buNone/>
              <a:defRPr sz="2400" cap="all" baseline="0"/>
            </a:lvl4pPr>
            <a:lvl5pPr marL="0" indent="0">
              <a:buFontTx/>
              <a:buNone/>
              <a:defRPr sz="2400" cap="all" baseline="0"/>
            </a:lvl5pPr>
          </a:lstStyle>
          <a:p>
            <a:pPr lvl="0"/>
            <a:r>
              <a:rPr lang="en-US"/>
              <a:t>Click to edit SLIDE TITLE </a:t>
            </a:r>
          </a:p>
        </p:txBody>
      </p:sp>
      <p:pic>
        <p:nvPicPr>
          <p:cNvPr id="10" name="Picture 9" descr="logo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3846" y="5900897"/>
            <a:ext cx="1530917" cy="40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3404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853877" y="1418707"/>
            <a:ext cx="1789818" cy="127051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Rectangle 18"/>
          <p:cNvSpPr/>
          <p:nvPr userDrawn="1"/>
        </p:nvSpPr>
        <p:spPr>
          <a:xfrm>
            <a:off x="853877" y="2878772"/>
            <a:ext cx="1789818" cy="127051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Rectangle 19"/>
          <p:cNvSpPr/>
          <p:nvPr userDrawn="1"/>
        </p:nvSpPr>
        <p:spPr>
          <a:xfrm>
            <a:off x="853877" y="4357933"/>
            <a:ext cx="1789818" cy="127051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847976" y="1430338"/>
            <a:ext cx="5592763" cy="1258887"/>
          </a:xfrm>
        </p:spPr>
        <p:txBody>
          <a:bodyPr/>
          <a:lstStyle>
            <a:lvl1pPr marL="0" indent="0">
              <a:buFontTx/>
              <a:buNone/>
              <a:defRPr spc="0" baseline="0"/>
            </a:lvl1pPr>
            <a:lvl2pPr marL="0" indent="0">
              <a:buFontTx/>
              <a:buNone/>
              <a:defRPr spc="0" baseline="0"/>
            </a:lvl2pPr>
            <a:lvl3pPr marL="0" indent="0">
              <a:buFontTx/>
              <a:buNone/>
              <a:defRPr spc="0" baseline="0"/>
            </a:lvl3pPr>
            <a:lvl4pPr marL="0" indent="0">
              <a:buFontTx/>
              <a:buNone/>
              <a:defRPr spc="0" baseline="0"/>
            </a:lvl4pPr>
            <a:lvl5pPr marL="0" indent="0">
              <a:buFontTx/>
              <a:buNone/>
              <a:defRPr spc="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847976" y="2887166"/>
            <a:ext cx="5592763" cy="1258887"/>
          </a:xfrm>
        </p:spPr>
        <p:txBody>
          <a:bodyPr/>
          <a:lstStyle>
            <a:lvl1pPr marL="0" indent="0">
              <a:buFontTx/>
              <a:buNone/>
              <a:defRPr spc="0" baseline="0">
                <a:solidFill>
                  <a:schemeClr val="accent3"/>
                </a:solidFill>
              </a:defRPr>
            </a:lvl1pPr>
            <a:lvl2pPr marL="0" indent="0">
              <a:buFontTx/>
              <a:buNone/>
              <a:defRPr spc="0" baseline="0"/>
            </a:lvl2pPr>
            <a:lvl3pPr marL="0" indent="0">
              <a:buFontTx/>
              <a:buNone/>
              <a:defRPr spc="0" baseline="0"/>
            </a:lvl3pPr>
            <a:lvl4pPr marL="0" indent="0">
              <a:buFontTx/>
              <a:buNone/>
              <a:defRPr spc="0" baseline="0"/>
            </a:lvl4pPr>
            <a:lvl5pPr marL="0" indent="0">
              <a:buFontTx/>
              <a:buNone/>
              <a:defRPr spc="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847976" y="4365160"/>
            <a:ext cx="5592763" cy="1258887"/>
          </a:xfrm>
        </p:spPr>
        <p:txBody>
          <a:bodyPr/>
          <a:lstStyle>
            <a:lvl1pPr marL="0" indent="0">
              <a:buFontTx/>
              <a:buNone/>
              <a:defRPr spc="0" baseline="0">
                <a:solidFill>
                  <a:schemeClr val="accent2"/>
                </a:solidFill>
              </a:defRPr>
            </a:lvl1pPr>
            <a:lvl2pPr marL="0" indent="0">
              <a:buFontTx/>
              <a:buNone/>
              <a:defRPr spc="0" baseline="0"/>
            </a:lvl2pPr>
            <a:lvl3pPr marL="0" indent="0">
              <a:buFontTx/>
              <a:buNone/>
              <a:defRPr spc="0" baseline="0"/>
            </a:lvl3pPr>
            <a:lvl4pPr marL="0" indent="0">
              <a:buFontTx/>
              <a:buNone/>
              <a:defRPr spc="0" baseline="0"/>
            </a:lvl4pPr>
            <a:lvl5pPr marL="0" indent="0">
              <a:buFontTx/>
              <a:buNone/>
              <a:defRPr spc="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801687" y="359308"/>
            <a:ext cx="7885114" cy="461962"/>
          </a:xfrm>
        </p:spPr>
        <p:txBody>
          <a:bodyPr/>
          <a:lstStyle/>
          <a:p>
            <a:r>
              <a:rPr lang="en-US"/>
              <a:t>Click to edit SLIDE title</a:t>
            </a:r>
          </a:p>
        </p:txBody>
      </p:sp>
      <p:pic>
        <p:nvPicPr>
          <p:cNvPr id="14" name="Picture 13" descr="star_purpl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952"/>
          <a:stretch/>
        </p:blipFill>
        <p:spPr>
          <a:xfrm>
            <a:off x="-1" y="639993"/>
            <a:ext cx="801687" cy="778714"/>
          </a:xfrm>
          <a:prstGeom prst="rect">
            <a:avLst/>
          </a:prstGeom>
        </p:spPr>
      </p:pic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801688" y="687920"/>
            <a:ext cx="7885112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 cap="all" spc="50" baseline="0"/>
            </a:lvl1pPr>
            <a:lvl2pPr marL="0" indent="0">
              <a:buFontTx/>
              <a:buNone/>
              <a:defRPr sz="2400" cap="all" baseline="0"/>
            </a:lvl2pPr>
            <a:lvl3pPr marL="0" indent="0">
              <a:buFontTx/>
              <a:buNone/>
              <a:defRPr sz="2400" cap="all" baseline="0"/>
            </a:lvl3pPr>
            <a:lvl4pPr marL="0" indent="0">
              <a:buFontTx/>
              <a:buNone/>
              <a:defRPr sz="2400" cap="all" baseline="0"/>
            </a:lvl4pPr>
            <a:lvl5pPr marL="0" indent="0">
              <a:buFontTx/>
              <a:buNone/>
              <a:defRPr sz="2400" cap="all" baseline="0"/>
            </a:lvl5pPr>
          </a:lstStyle>
          <a:p>
            <a:pPr lvl="0"/>
            <a:r>
              <a:rPr lang="en-US"/>
              <a:t>Click to edit SLIDE TITLE 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854582" y="1592662"/>
            <a:ext cx="1789113" cy="1096564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b="1" i="0" cap="all" spc="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i="0" cap="all" spc="0" baseline="0">
                <a:latin typeface="Calibri Ligh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i="0" cap="all" spc="0" baseline="0">
                <a:latin typeface="Calibri Ligh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i="0" cap="all" spc="0" baseline="0">
                <a:latin typeface="Calibri Ligh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i="0" cap="all" spc="0" baseline="0">
                <a:latin typeface="Calibri 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854582" y="3049487"/>
            <a:ext cx="1789113" cy="1096564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b="1" i="0" cap="all" spc="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i="0" cap="all" spc="0" baseline="0">
                <a:latin typeface="Calibri Ligh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i="0" cap="all" spc="0" baseline="0">
                <a:latin typeface="Calibri Ligh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i="0" cap="all" spc="0" baseline="0">
                <a:latin typeface="Calibri Ligh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i="0" cap="all" spc="0" baseline="0">
                <a:latin typeface="Calibri 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854582" y="4527690"/>
            <a:ext cx="1789113" cy="1096564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b="1" i="0" cap="all" spc="0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i="0" cap="all" spc="0" baseline="0">
                <a:latin typeface="Calibri Ligh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i="0" cap="all" spc="0" baseline="0">
                <a:latin typeface="Calibri Ligh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i="0" cap="all" spc="0" baseline="0">
                <a:latin typeface="Calibri Ligh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i="0" cap="all" spc="0" baseline="0">
                <a:latin typeface="Calibri 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4" name="Picture 23" descr="logo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3846" y="5900897"/>
            <a:ext cx="1530917" cy="40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2260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/>
          <p:nvPr userDrawn="1"/>
        </p:nvSpPr>
        <p:spPr>
          <a:xfrm>
            <a:off x="724351" y="1507607"/>
            <a:ext cx="878343" cy="878343"/>
          </a:xfrm>
          <a:prstGeom prst="ellipse">
            <a:avLst/>
          </a:prstGeom>
          <a:solidFill>
            <a:schemeClr val="bg1"/>
          </a:solidFill>
          <a:ln w="101600">
            <a:solidFill>
              <a:srgbClr val="ED145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b="1">
              <a:solidFill>
                <a:srgbClr val="ED145B"/>
              </a:solidFill>
              <a:latin typeface="Calibri"/>
              <a:cs typeface="Calibri"/>
            </a:endParaRPr>
          </a:p>
        </p:txBody>
      </p:sp>
      <p:sp>
        <p:nvSpPr>
          <p:cNvPr id="4" name="Rectangle 15"/>
          <p:cNvSpPr>
            <a:spLocks noChangeArrowheads="1"/>
          </p:cNvSpPr>
          <p:nvPr userDrawn="1"/>
        </p:nvSpPr>
        <p:spPr bwMode="gray">
          <a:xfrm>
            <a:off x="760710" y="1507607"/>
            <a:ext cx="808162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5000" b="1" u="none" strike="noStrike" cap="none" normalizeH="0" baseline="0">
                <a:ln>
                  <a:noFill/>
                </a:ln>
                <a:solidFill>
                  <a:srgbClr val="ED145B"/>
                </a:solidFill>
                <a:effectLst/>
                <a:latin typeface="Calibri"/>
                <a:cs typeface="Calibri"/>
              </a:rPr>
              <a:t>1</a:t>
            </a:r>
          </a:p>
        </p:txBody>
      </p:sp>
      <p:sp>
        <p:nvSpPr>
          <p:cNvPr id="5" name="Oval 4"/>
          <p:cNvSpPr/>
          <p:nvPr userDrawn="1"/>
        </p:nvSpPr>
        <p:spPr>
          <a:xfrm>
            <a:off x="724351" y="2626773"/>
            <a:ext cx="878343" cy="878343"/>
          </a:xfrm>
          <a:prstGeom prst="ellipse">
            <a:avLst/>
          </a:prstGeom>
          <a:solidFill>
            <a:schemeClr val="bg1"/>
          </a:solidFill>
          <a:ln w="101600">
            <a:solidFill>
              <a:srgbClr val="00C0F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b="1">
              <a:solidFill>
                <a:srgbClr val="ED145B"/>
              </a:solidFill>
              <a:latin typeface="Calibri"/>
              <a:cs typeface="Calibri"/>
            </a:endParaRP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760710" y="2626773"/>
            <a:ext cx="808162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5000" b="1" u="none" strike="noStrike" cap="none" normalizeH="0" baseline="0">
                <a:ln>
                  <a:noFill/>
                </a:ln>
                <a:solidFill>
                  <a:srgbClr val="00C0F3"/>
                </a:solidFill>
                <a:effectLst/>
                <a:latin typeface="Calibri"/>
                <a:cs typeface="Calibri"/>
              </a:rPr>
              <a:t>2</a:t>
            </a:r>
          </a:p>
        </p:txBody>
      </p:sp>
      <p:sp>
        <p:nvSpPr>
          <p:cNvPr id="7" name="Oval 6"/>
          <p:cNvSpPr/>
          <p:nvPr userDrawn="1"/>
        </p:nvSpPr>
        <p:spPr>
          <a:xfrm>
            <a:off x="724351" y="3744373"/>
            <a:ext cx="878343" cy="878343"/>
          </a:xfrm>
          <a:prstGeom prst="ellipse">
            <a:avLst/>
          </a:prstGeom>
          <a:solidFill>
            <a:schemeClr val="bg1"/>
          </a:solidFill>
          <a:ln w="101600">
            <a:solidFill>
              <a:srgbClr val="583F9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b="1">
              <a:solidFill>
                <a:srgbClr val="ED145B"/>
              </a:solidFill>
              <a:latin typeface="Calibri"/>
              <a:cs typeface="Calibri"/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760710" y="3744373"/>
            <a:ext cx="808162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5000" b="1" u="none" strike="noStrike" cap="none" normalizeH="0" baseline="0">
                <a:ln>
                  <a:noFill/>
                </a:ln>
                <a:solidFill>
                  <a:srgbClr val="583F99"/>
                </a:solidFill>
                <a:effectLst/>
                <a:latin typeface="Calibri"/>
                <a:cs typeface="Calibri"/>
              </a:rPr>
              <a:t>3</a:t>
            </a:r>
          </a:p>
        </p:txBody>
      </p:sp>
      <p:sp>
        <p:nvSpPr>
          <p:cNvPr id="9" name="Oval 8"/>
          <p:cNvSpPr/>
          <p:nvPr userDrawn="1"/>
        </p:nvSpPr>
        <p:spPr>
          <a:xfrm>
            <a:off x="724351" y="4879126"/>
            <a:ext cx="878343" cy="878343"/>
          </a:xfrm>
          <a:prstGeom prst="ellipse">
            <a:avLst/>
          </a:prstGeom>
          <a:solidFill>
            <a:schemeClr val="bg1"/>
          </a:solidFill>
          <a:ln w="101600">
            <a:solidFill>
              <a:srgbClr val="F3702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b="1">
              <a:solidFill>
                <a:srgbClr val="ED145B"/>
              </a:solidFill>
              <a:latin typeface="Calibri"/>
              <a:cs typeface="Calibri"/>
            </a:endParaRPr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760710" y="4879126"/>
            <a:ext cx="808162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5000" b="1" u="none" strike="noStrike" cap="none" normalizeH="0" baseline="0">
                <a:ln>
                  <a:noFill/>
                </a:ln>
                <a:solidFill>
                  <a:srgbClr val="F37021"/>
                </a:solidFill>
                <a:effectLst/>
                <a:latin typeface="Calibri"/>
                <a:cs typeface="Calibri"/>
              </a:rPr>
              <a:t>4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01687" y="359308"/>
            <a:ext cx="7885114" cy="461962"/>
          </a:xfrm>
        </p:spPr>
        <p:txBody>
          <a:bodyPr/>
          <a:lstStyle/>
          <a:p>
            <a:r>
              <a:rPr lang="en-US"/>
              <a:t>Click to edit SLIDE title</a:t>
            </a:r>
          </a:p>
        </p:txBody>
      </p:sp>
      <p:pic>
        <p:nvPicPr>
          <p:cNvPr id="12" name="Picture 11" descr="star_purpl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952"/>
          <a:stretch/>
        </p:blipFill>
        <p:spPr>
          <a:xfrm>
            <a:off x="-1" y="639993"/>
            <a:ext cx="801687" cy="778714"/>
          </a:xfrm>
          <a:prstGeom prst="rect">
            <a:avLst/>
          </a:prstGeom>
        </p:spPr>
      </p:pic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801688" y="687920"/>
            <a:ext cx="7885112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 cap="all" spc="50" baseline="0"/>
            </a:lvl1pPr>
            <a:lvl2pPr marL="0" indent="0">
              <a:buFontTx/>
              <a:buNone/>
              <a:defRPr sz="2400" cap="all" baseline="0"/>
            </a:lvl2pPr>
            <a:lvl3pPr marL="0" indent="0">
              <a:buFontTx/>
              <a:buNone/>
              <a:defRPr sz="2400" cap="all" baseline="0"/>
            </a:lvl3pPr>
            <a:lvl4pPr marL="0" indent="0">
              <a:buFontTx/>
              <a:buNone/>
              <a:defRPr sz="2400" cap="all" baseline="0"/>
            </a:lvl4pPr>
            <a:lvl5pPr marL="0" indent="0">
              <a:buFontTx/>
              <a:buNone/>
              <a:defRPr sz="2400" cap="all" baseline="0"/>
            </a:lvl5pPr>
          </a:lstStyle>
          <a:p>
            <a:pPr lvl="0"/>
            <a:r>
              <a:rPr lang="en-US"/>
              <a:t>Click to edit SLIDE TITLE 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867510" y="1448263"/>
            <a:ext cx="6819290" cy="955610"/>
          </a:xfrm>
        </p:spPr>
        <p:txBody>
          <a:bodyPr/>
          <a:lstStyle>
            <a:lvl1pPr marL="0" indent="0">
              <a:buFontTx/>
              <a:buNone/>
              <a:defRPr spc="0" baseline="0"/>
            </a:lvl1pPr>
            <a:lvl2pPr marL="0" indent="0">
              <a:buFontTx/>
              <a:buNone/>
              <a:defRPr spc="0" baseline="0"/>
            </a:lvl2pPr>
            <a:lvl3pPr marL="0" indent="0">
              <a:buFontTx/>
              <a:buNone/>
              <a:defRPr spc="0" baseline="0"/>
            </a:lvl3pPr>
            <a:lvl4pPr marL="0" indent="0">
              <a:buFontTx/>
              <a:buNone/>
              <a:defRPr spc="0" baseline="0"/>
            </a:lvl4pPr>
            <a:lvl5pPr marL="0" indent="0">
              <a:buFontTx/>
              <a:buNone/>
              <a:defRPr spc="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867510" y="2626773"/>
            <a:ext cx="6819290" cy="878343"/>
          </a:xfrm>
        </p:spPr>
        <p:txBody>
          <a:bodyPr/>
          <a:lstStyle>
            <a:lvl1pPr marL="0" indent="0">
              <a:buFontTx/>
              <a:buNone/>
              <a:defRPr spc="0" baseline="0">
                <a:solidFill>
                  <a:schemeClr val="accent4"/>
                </a:solidFill>
              </a:defRPr>
            </a:lvl1pPr>
            <a:lvl2pPr marL="0" indent="0">
              <a:buFontTx/>
              <a:buNone/>
              <a:defRPr spc="0" baseline="0"/>
            </a:lvl2pPr>
            <a:lvl3pPr marL="0" indent="0">
              <a:buFontTx/>
              <a:buNone/>
              <a:defRPr spc="0" baseline="0"/>
            </a:lvl3pPr>
            <a:lvl4pPr marL="0" indent="0">
              <a:buFontTx/>
              <a:buNone/>
              <a:defRPr spc="0" baseline="0"/>
            </a:lvl4pPr>
            <a:lvl5pPr marL="0" indent="0">
              <a:buFontTx/>
              <a:buNone/>
              <a:defRPr spc="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867510" y="4879126"/>
            <a:ext cx="6819290" cy="1021773"/>
          </a:xfrm>
        </p:spPr>
        <p:txBody>
          <a:bodyPr/>
          <a:lstStyle>
            <a:lvl1pPr marL="0" indent="0">
              <a:buFontTx/>
              <a:buNone/>
              <a:defRPr spc="0" baseline="0">
                <a:solidFill>
                  <a:schemeClr val="accent2"/>
                </a:solidFill>
              </a:defRPr>
            </a:lvl1pPr>
            <a:lvl2pPr marL="0" indent="0">
              <a:buFontTx/>
              <a:buNone/>
              <a:defRPr spc="0" baseline="0"/>
            </a:lvl2pPr>
            <a:lvl3pPr marL="0" indent="0">
              <a:buFontTx/>
              <a:buNone/>
              <a:defRPr spc="0" baseline="0"/>
            </a:lvl3pPr>
            <a:lvl4pPr marL="0" indent="0">
              <a:buFontTx/>
              <a:buNone/>
              <a:defRPr spc="0" baseline="0"/>
            </a:lvl4pPr>
            <a:lvl5pPr marL="0" indent="0">
              <a:buFontTx/>
              <a:buNone/>
              <a:defRPr spc="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7" name="Picture 16" descr="logo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3846" y="5900897"/>
            <a:ext cx="1530917" cy="409416"/>
          </a:xfrm>
          <a:prstGeom prst="rect">
            <a:avLst/>
          </a:prstGeom>
        </p:spPr>
      </p:pic>
      <p:sp>
        <p:nvSpPr>
          <p:cNvPr id="18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1867510" y="3744373"/>
            <a:ext cx="6819290" cy="1021773"/>
          </a:xfrm>
        </p:spPr>
        <p:txBody>
          <a:bodyPr/>
          <a:lstStyle>
            <a:lvl1pPr marL="0" indent="0">
              <a:buFontTx/>
              <a:buNone/>
              <a:defRPr spc="0" baseline="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pc="0" baseline="0"/>
            </a:lvl2pPr>
            <a:lvl3pPr marL="0" indent="0">
              <a:buFontTx/>
              <a:buNone/>
              <a:defRPr spc="0" baseline="0"/>
            </a:lvl3pPr>
            <a:lvl4pPr marL="0" indent="0">
              <a:buFontTx/>
              <a:buNone/>
              <a:defRPr spc="0" baseline="0"/>
            </a:lvl4pPr>
            <a:lvl5pPr marL="0" indent="0">
              <a:buFontTx/>
              <a:buNone/>
              <a:defRPr spc="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20568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801686" y="1418707"/>
            <a:ext cx="7763076" cy="886884"/>
          </a:xfrm>
        </p:spPr>
        <p:txBody>
          <a:bodyPr/>
          <a:lstStyle>
            <a:lvl1pPr marL="0" indent="0">
              <a:lnSpc>
                <a:spcPts val="2000"/>
              </a:lnSpc>
              <a:buFontTx/>
              <a:buNone/>
              <a:defRPr spc="50" baseline="0">
                <a:solidFill>
                  <a:schemeClr val="accent3"/>
                </a:solidFill>
              </a:defRPr>
            </a:lvl1pPr>
            <a:lvl2pPr marL="0" indent="0">
              <a:lnSpc>
                <a:spcPts val="2000"/>
              </a:lnSpc>
              <a:buFontTx/>
              <a:buNone/>
              <a:defRPr spc="50" baseline="0">
                <a:solidFill>
                  <a:schemeClr val="accent3"/>
                </a:solidFill>
              </a:defRPr>
            </a:lvl2pPr>
            <a:lvl3pPr marL="0" indent="0">
              <a:lnSpc>
                <a:spcPts val="2000"/>
              </a:lnSpc>
              <a:buFontTx/>
              <a:buNone/>
              <a:defRPr spc="50" baseline="0"/>
            </a:lvl3pPr>
            <a:lvl4pPr marL="0" indent="0">
              <a:lnSpc>
                <a:spcPts val="2000"/>
              </a:lnSpc>
              <a:buFontTx/>
              <a:buNone/>
              <a:defRPr spc="50" baseline="0"/>
            </a:lvl4pPr>
            <a:lvl5pPr marL="0" indent="0">
              <a:lnSpc>
                <a:spcPts val="2000"/>
              </a:lnSpc>
              <a:buFontTx/>
              <a:buNone/>
              <a:defRPr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6" name="Picture 5" descr="star_purpl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952"/>
          <a:stretch/>
        </p:blipFill>
        <p:spPr>
          <a:xfrm>
            <a:off x="-1" y="639993"/>
            <a:ext cx="801687" cy="778714"/>
          </a:xfrm>
          <a:prstGeom prst="rect">
            <a:avLst/>
          </a:prstGeom>
        </p:spPr>
      </p:pic>
      <p:pic>
        <p:nvPicPr>
          <p:cNvPr id="7" name="Picture 6" descr="logo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3846" y="5900897"/>
            <a:ext cx="1530917" cy="409416"/>
          </a:xfrm>
          <a:prstGeom prst="rect">
            <a:avLst/>
          </a:prstGeom>
        </p:spPr>
      </p:pic>
      <p:sp>
        <p:nvSpPr>
          <p:cNvPr id="9" name="Chart Placeholder 8"/>
          <p:cNvSpPr>
            <a:spLocks noGrp="1"/>
          </p:cNvSpPr>
          <p:nvPr>
            <p:ph type="chart" sz="quarter" idx="11"/>
          </p:nvPr>
        </p:nvSpPr>
        <p:spPr>
          <a:xfrm>
            <a:off x="801688" y="2421469"/>
            <a:ext cx="7762875" cy="3234265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801688" y="6167969"/>
            <a:ext cx="5865812" cy="41063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800" spc="50" baseline="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800" spc="50" baseline="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lnSpc>
                <a:spcPts val="2000"/>
              </a:lnSpc>
              <a:buFontTx/>
              <a:buNone/>
              <a:defRPr spc="50" baseline="0"/>
            </a:lvl3pPr>
            <a:lvl4pPr marL="0" indent="0">
              <a:lnSpc>
                <a:spcPts val="2000"/>
              </a:lnSpc>
              <a:buFontTx/>
              <a:buNone/>
              <a:defRPr spc="50" baseline="0"/>
            </a:lvl4pPr>
            <a:lvl5pPr marL="0" indent="0">
              <a:lnSpc>
                <a:spcPts val="2000"/>
              </a:lnSpc>
              <a:buFontTx/>
              <a:buNone/>
              <a:defRPr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01689" y="342902"/>
            <a:ext cx="7763074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 cap="all" spc="50" baseline="0"/>
            </a:lvl1pPr>
            <a:lvl2pPr marL="0" indent="0">
              <a:buFontTx/>
              <a:buNone/>
              <a:defRPr sz="2400" cap="all" baseline="0"/>
            </a:lvl2pPr>
            <a:lvl3pPr marL="0" indent="0">
              <a:buFontTx/>
              <a:buNone/>
              <a:defRPr sz="2400" cap="all" baseline="0"/>
            </a:lvl3pPr>
            <a:lvl4pPr marL="0" indent="0">
              <a:buFontTx/>
              <a:buNone/>
              <a:defRPr sz="2400" cap="all" baseline="0"/>
            </a:lvl4pPr>
            <a:lvl5pPr marL="0" indent="0">
              <a:buFontTx/>
              <a:buNone/>
              <a:defRPr sz="2400" cap="all" baseline="0"/>
            </a:lvl5pPr>
          </a:lstStyle>
          <a:p>
            <a:pPr lvl="0"/>
            <a:r>
              <a:rPr lang="en-US"/>
              <a:t>Click to edit graphics TITLE 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801687" y="675222"/>
            <a:ext cx="7763074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 b="1" i="0" cap="all" spc="50" baseline="0">
                <a:latin typeface="Calibri"/>
                <a:cs typeface="Calibri"/>
              </a:defRPr>
            </a:lvl1pPr>
            <a:lvl2pPr marL="0" indent="0">
              <a:buFontTx/>
              <a:buNone/>
              <a:defRPr sz="2400" cap="all" baseline="0"/>
            </a:lvl2pPr>
            <a:lvl3pPr marL="0" indent="0">
              <a:buFontTx/>
              <a:buNone/>
              <a:defRPr sz="2400" cap="all" baseline="0"/>
            </a:lvl3pPr>
            <a:lvl4pPr marL="0" indent="0">
              <a:buFontTx/>
              <a:buNone/>
              <a:defRPr sz="2400" cap="all" baseline="0"/>
            </a:lvl4pPr>
            <a:lvl5pPr marL="0" indent="0">
              <a:buFontTx/>
              <a:buNone/>
              <a:defRPr sz="2400" cap="all" baseline="0"/>
            </a:lvl5pPr>
          </a:lstStyle>
          <a:p>
            <a:pPr lvl="0"/>
            <a:r>
              <a:rPr lang="en-US"/>
              <a:t>Click to edit graphics TITLE </a:t>
            </a:r>
          </a:p>
        </p:txBody>
      </p:sp>
    </p:spTree>
    <p:extLst>
      <p:ext uri="{BB962C8B-B14F-4D97-AF65-F5344CB8AC3E}">
        <p14:creationId xmlns:p14="http://schemas.microsoft.com/office/powerpoint/2010/main" val="37701694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4 GRID PURPLE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6858001"/>
          </a:xfrm>
          <a:prstGeom prst="rect">
            <a:avLst/>
          </a:prstGeom>
        </p:spPr>
      </p:pic>
      <p:sp>
        <p:nvSpPr>
          <p:cNvPr id="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01689" y="342902"/>
            <a:ext cx="7763074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 cap="all" spc="50" baseline="0"/>
            </a:lvl1pPr>
            <a:lvl2pPr marL="0" indent="0">
              <a:buFontTx/>
              <a:buNone/>
              <a:defRPr sz="2400" cap="all" baseline="0"/>
            </a:lvl2pPr>
            <a:lvl3pPr marL="0" indent="0">
              <a:buFontTx/>
              <a:buNone/>
              <a:defRPr sz="2400" cap="all" baseline="0"/>
            </a:lvl3pPr>
            <a:lvl4pPr marL="0" indent="0">
              <a:buFontTx/>
              <a:buNone/>
              <a:defRPr sz="2400" cap="all" baseline="0"/>
            </a:lvl4pPr>
            <a:lvl5pPr marL="0" indent="0">
              <a:buFontTx/>
              <a:buNone/>
              <a:defRPr sz="2400" cap="all" baseline="0"/>
            </a:lvl5pPr>
          </a:lstStyle>
          <a:p>
            <a:pPr lvl="0"/>
            <a:r>
              <a:rPr lang="en-US"/>
              <a:t>Click to edit graphics TITLE 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801687" y="675222"/>
            <a:ext cx="7763074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 b="1" i="0" cap="all" spc="50" baseline="0">
                <a:latin typeface="Calibri"/>
                <a:cs typeface="Calibri"/>
              </a:defRPr>
            </a:lvl1pPr>
            <a:lvl2pPr marL="0" indent="0">
              <a:buFontTx/>
              <a:buNone/>
              <a:defRPr sz="2400" cap="all" baseline="0"/>
            </a:lvl2pPr>
            <a:lvl3pPr marL="0" indent="0">
              <a:buFontTx/>
              <a:buNone/>
              <a:defRPr sz="2400" cap="all" baseline="0"/>
            </a:lvl3pPr>
            <a:lvl4pPr marL="0" indent="0">
              <a:buFontTx/>
              <a:buNone/>
              <a:defRPr sz="2400" cap="all" baseline="0"/>
            </a:lvl4pPr>
            <a:lvl5pPr marL="0" indent="0">
              <a:buFontTx/>
              <a:buNone/>
              <a:defRPr sz="2400" cap="all" baseline="0"/>
            </a:lvl5pPr>
          </a:lstStyle>
          <a:p>
            <a:pPr lvl="0"/>
            <a:r>
              <a:rPr lang="en-US"/>
              <a:t>Click to edit graphics TITLE </a:t>
            </a:r>
          </a:p>
        </p:txBody>
      </p:sp>
      <p:pic>
        <p:nvPicPr>
          <p:cNvPr id="6" name="Picture 5" descr="star_purple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952"/>
          <a:stretch/>
        </p:blipFill>
        <p:spPr>
          <a:xfrm>
            <a:off x="-1" y="639993"/>
            <a:ext cx="801687" cy="778714"/>
          </a:xfrm>
          <a:prstGeom prst="rect">
            <a:avLst/>
          </a:prstGeom>
        </p:spPr>
      </p:pic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>
          <a:xfrm>
            <a:off x="801688" y="1279527"/>
            <a:ext cx="7762875" cy="444017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pic>
        <p:nvPicPr>
          <p:cNvPr id="9" name="Picture 8" descr="logo_rgb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3846" y="5900897"/>
            <a:ext cx="1530917" cy="409416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801688" y="6167969"/>
            <a:ext cx="5865812" cy="41063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800" spc="50" baseline="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800" spc="50" baseline="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lnSpc>
                <a:spcPts val="2000"/>
              </a:lnSpc>
              <a:buFontTx/>
              <a:buNone/>
              <a:defRPr spc="50" baseline="0"/>
            </a:lvl3pPr>
            <a:lvl4pPr marL="0" indent="0">
              <a:lnSpc>
                <a:spcPts val="2000"/>
              </a:lnSpc>
              <a:buFontTx/>
              <a:buNone/>
              <a:defRPr spc="50" baseline="0"/>
            </a:lvl4pPr>
            <a:lvl5pPr marL="0" indent="0">
              <a:lnSpc>
                <a:spcPts val="2000"/>
              </a:lnSpc>
              <a:buFontTx/>
              <a:buNone/>
              <a:defRPr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486862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14375" y="658813"/>
            <a:ext cx="4629150" cy="2568575"/>
          </a:xfrm>
        </p:spPr>
        <p:txBody>
          <a:bodyPr>
            <a:normAutofit/>
          </a:bodyPr>
          <a:lstStyle>
            <a:lvl1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/>
            </a:lvl1pPr>
            <a:lvl2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/>
            </a:lvl2pPr>
            <a:lvl3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/>
            </a:lvl3pPr>
            <a:lvl4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/>
            </a:lvl4pPr>
            <a:lvl5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58283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CLThomas_161201_0278.jpg">
            <a:extLst>
              <a:ext uri="{FF2B5EF4-FFF2-40B4-BE49-F238E27FC236}">
                <a16:creationId xmlns:a16="http://schemas.microsoft.com/office/drawing/2014/main" id="{1ECC1984-00BB-644B-BB69-184C906286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5"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14375" y="658813"/>
            <a:ext cx="4629150" cy="2568575"/>
          </a:xfrm>
        </p:spPr>
        <p:txBody>
          <a:bodyPr>
            <a:normAutofit/>
          </a:bodyPr>
          <a:lstStyle>
            <a:lvl1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/>
            </a:lvl1pPr>
            <a:lvl2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/>
            </a:lvl2pPr>
            <a:lvl3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/>
            </a:lvl3pPr>
            <a:lvl4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/>
            </a:lvl4pPr>
            <a:lvl5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50648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 descr="CLThomas_161201_0170.jpg">
            <a:extLst>
              <a:ext uri="{FF2B5EF4-FFF2-40B4-BE49-F238E27FC236}">
                <a16:creationId xmlns:a16="http://schemas.microsoft.com/office/drawing/2014/main" id="{225B0BD0-8222-8947-97A3-3F93F83F47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265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14375" y="658813"/>
            <a:ext cx="4629150" cy="2568575"/>
          </a:xfrm>
        </p:spPr>
        <p:txBody>
          <a:bodyPr>
            <a:normAutofit/>
          </a:bodyPr>
          <a:lstStyle>
            <a:lvl1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>
                <a:solidFill>
                  <a:schemeClr val="accent5"/>
                </a:solidFill>
              </a:defRPr>
            </a:lvl1pPr>
            <a:lvl2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>
                <a:solidFill>
                  <a:schemeClr val="accent5"/>
                </a:solidFill>
              </a:defRPr>
            </a:lvl2pPr>
            <a:lvl3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>
                <a:solidFill>
                  <a:schemeClr val="accent5"/>
                </a:solidFill>
              </a:defRPr>
            </a:lvl3pPr>
            <a:lvl4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>
                <a:solidFill>
                  <a:schemeClr val="accent5"/>
                </a:solidFill>
              </a:defRPr>
            </a:lvl4pPr>
            <a:lvl5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27255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_DSC5450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6858001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14375" y="658813"/>
            <a:ext cx="4629150" cy="2568575"/>
          </a:xfrm>
        </p:spPr>
        <p:txBody>
          <a:bodyPr>
            <a:normAutofit/>
          </a:bodyPr>
          <a:lstStyle>
            <a:lvl1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/>
            </a:lvl1pPr>
            <a:lvl2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/>
            </a:lvl2pPr>
            <a:lvl3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/>
            </a:lvl3pPr>
            <a:lvl4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/>
            </a:lvl4pPr>
            <a:lvl5pPr marL="0" indent="0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7062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_DSC5525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6858001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862620" y="658813"/>
            <a:ext cx="4629150" cy="2568575"/>
          </a:xfrm>
        </p:spPr>
        <p:txBody>
          <a:bodyPr>
            <a:normAutofit/>
          </a:bodyPr>
          <a:lstStyle>
            <a:lvl1pPr marL="0" indent="0" algn="r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>
                <a:solidFill>
                  <a:schemeClr val="accent3"/>
                </a:solidFill>
              </a:defRPr>
            </a:lvl1pPr>
            <a:lvl2pPr marL="0" indent="0" algn="r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>
                <a:solidFill>
                  <a:schemeClr val="accent3"/>
                </a:solidFill>
              </a:defRPr>
            </a:lvl2pPr>
            <a:lvl3pPr marL="0" indent="0" algn="r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>
                <a:solidFill>
                  <a:schemeClr val="accent3"/>
                </a:solidFill>
              </a:defRPr>
            </a:lvl3pPr>
            <a:lvl4pPr marL="0" indent="0" algn="r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>
                <a:solidFill>
                  <a:schemeClr val="accent3"/>
                </a:solidFill>
              </a:defRPr>
            </a:lvl4pPr>
            <a:lvl5pPr marL="0" indent="0" algn="r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026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no star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784123" y="660400"/>
            <a:ext cx="7772400" cy="70792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4123" y="1526459"/>
            <a:ext cx="7772400" cy="4446639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000"/>
              </a:spcBef>
              <a:buNone/>
              <a:defRPr cap="none" spc="50" baseline="0">
                <a:solidFill>
                  <a:schemeClr val="tx1"/>
                </a:solidFill>
              </a:defRPr>
            </a:lvl1pPr>
            <a:lvl2pPr marL="457200" indent="0" algn="l">
              <a:lnSpc>
                <a:spcPct val="120000"/>
              </a:lnSpc>
              <a:spcBef>
                <a:spcPts val="1000"/>
              </a:spcBef>
              <a:buNone/>
              <a:defRPr cap="none" spc="50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z="1800" spc="30">
                <a:solidFill>
                  <a:srgbClr val="583F99"/>
                </a:solidFill>
                <a:latin typeface="Calibri Light"/>
                <a:cs typeface="Calibri Light"/>
              </a:rPr>
              <a:t>LIST THE PRESENTATION CONTENTS </a:t>
            </a:r>
            <a:r>
              <a:rPr lang="en-US" sz="1800" b="1" spc="30">
                <a:solidFill>
                  <a:srgbClr val="583F99"/>
                </a:solidFill>
                <a:latin typeface="Calibri"/>
                <a:cs typeface="Calibri"/>
              </a:rPr>
              <a:t>IN SECTIONS</a:t>
            </a:r>
          </a:p>
          <a:p>
            <a:r>
              <a:rPr lang="en-US" sz="1800" spc="30">
                <a:solidFill>
                  <a:srgbClr val="583F99"/>
                </a:solidFill>
                <a:latin typeface="Calibri Light"/>
                <a:cs typeface="Calibri Light"/>
              </a:rPr>
              <a:t>IN 18PT CAPS USING </a:t>
            </a:r>
            <a:r>
              <a:rPr lang="en-US" sz="1800" b="1" spc="30">
                <a:solidFill>
                  <a:srgbClr val="583F99"/>
                </a:solidFill>
                <a:latin typeface="Calibri"/>
                <a:cs typeface="Calibri"/>
              </a:rPr>
              <a:t>CALIBRI BOLD AND LIGHT</a:t>
            </a:r>
          </a:p>
          <a:p>
            <a:r>
              <a:rPr lang="en-US" sz="1800" spc="30">
                <a:solidFill>
                  <a:srgbClr val="583F99"/>
                </a:solidFill>
                <a:latin typeface="Calibri Light"/>
                <a:cs typeface="Calibri Light"/>
              </a:rPr>
              <a:t>IF YOU HAVE </a:t>
            </a:r>
            <a:r>
              <a:rPr lang="en-US" sz="1800" b="1" spc="30">
                <a:solidFill>
                  <a:srgbClr val="583F99"/>
                </a:solidFill>
                <a:latin typeface="Calibri"/>
                <a:cs typeface="Calibri"/>
              </a:rPr>
              <a:t>SUBSECTIONS </a:t>
            </a:r>
          </a:p>
          <a:p>
            <a:pPr lvl="1"/>
            <a:r>
              <a:rPr lang="en-US" sz="1800" spc="30">
                <a:solidFill>
                  <a:srgbClr val="583F99"/>
                </a:solidFill>
                <a:latin typeface="Calibri Light"/>
                <a:cs typeface="Calibri Light"/>
              </a:rPr>
              <a:t>… List them in sentence case</a:t>
            </a:r>
          </a:p>
          <a:p>
            <a:pPr lvl="1"/>
            <a:r>
              <a:rPr lang="en-US" sz="1800" spc="30">
                <a:solidFill>
                  <a:srgbClr val="583F99"/>
                </a:solidFill>
                <a:latin typeface="Calibri Light"/>
                <a:cs typeface="Calibri Light"/>
              </a:rPr>
              <a:t>… Using Calibri Light</a:t>
            </a:r>
          </a:p>
          <a:p>
            <a:pPr lvl="1"/>
            <a:r>
              <a:rPr lang="en-US" sz="1800" spc="30">
                <a:solidFill>
                  <a:srgbClr val="583F99"/>
                </a:solidFill>
                <a:latin typeface="Calibri Light"/>
                <a:cs typeface="Calibri Light"/>
              </a:rPr>
              <a:t>… With these bullets</a:t>
            </a:r>
          </a:p>
        </p:txBody>
      </p:sp>
      <p:pic>
        <p:nvPicPr>
          <p:cNvPr id="5" name="Picture 4" descr="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3846" y="5900897"/>
            <a:ext cx="1530917" cy="40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9331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-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S DSC5404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9144001" cy="6858001"/>
          </a:xfrm>
          <a:prstGeom prst="rect">
            <a:avLst/>
          </a:prstGeom>
        </p:spPr>
      </p:pic>
      <p:pic>
        <p:nvPicPr>
          <p:cNvPr id="6" name="Picture 5" descr="STARS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892"/>
          <a:stretch/>
        </p:blipFill>
        <p:spPr>
          <a:xfrm>
            <a:off x="-1" y="3321427"/>
            <a:ext cx="3967812" cy="1795969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33879" y="658813"/>
            <a:ext cx="4629150" cy="2568575"/>
          </a:xfrm>
        </p:spPr>
        <p:txBody>
          <a:bodyPr>
            <a:normAutofit/>
          </a:bodyPr>
          <a:lstStyle>
            <a:lvl1pPr marL="0" indent="0" algn="l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>
                <a:solidFill>
                  <a:schemeClr val="tx1"/>
                </a:solidFill>
              </a:defRPr>
            </a:lvl1pPr>
            <a:lvl2pPr marL="0" indent="0" algn="l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>
                <a:solidFill>
                  <a:schemeClr val="tx1"/>
                </a:solidFill>
              </a:defRPr>
            </a:lvl2pPr>
            <a:lvl3pPr marL="0" indent="0" algn="l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>
                <a:solidFill>
                  <a:schemeClr val="tx1"/>
                </a:solidFill>
              </a:defRPr>
            </a:lvl3pPr>
            <a:lvl4pPr marL="0" indent="0" algn="l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>
                <a:solidFill>
                  <a:schemeClr val="tx1"/>
                </a:solidFill>
              </a:defRPr>
            </a:lvl4pPr>
            <a:lvl5pPr marL="0" indent="0" algn="l">
              <a:lnSpc>
                <a:spcPts val="2300"/>
              </a:lnSpc>
              <a:spcBef>
                <a:spcPts val="0"/>
              </a:spcBef>
              <a:buFontTx/>
              <a:buNone/>
              <a:defRPr sz="2400" cap="all" spc="5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0761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rocke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1" y="2822182"/>
            <a:ext cx="7216175" cy="2207140"/>
          </a:xfrm>
          <a:prstGeom prst="rect">
            <a:avLst/>
          </a:prstGeom>
        </p:spPr>
      </p:pic>
      <p:pic>
        <p:nvPicPr>
          <p:cNvPr id="4" name="Picture 3" descr="logo_stacked+typ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866" y="5232402"/>
            <a:ext cx="1304101" cy="1076895"/>
          </a:xfrm>
          <a:prstGeom prst="rect">
            <a:avLst/>
          </a:prstGeom>
        </p:spPr>
      </p:pic>
      <p:pic>
        <p:nvPicPr>
          <p:cNvPr id="5" name="Picture 4" descr="TEXT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324" y="6238770"/>
            <a:ext cx="1601771" cy="83224"/>
          </a:xfrm>
          <a:prstGeom prst="rect">
            <a:avLst/>
          </a:prstGeom>
        </p:spPr>
      </p:pic>
      <p:sp>
        <p:nvSpPr>
          <p:cNvPr id="6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999334" y="3270459"/>
            <a:ext cx="4459287" cy="536218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3200" b="1" i="0" cap="all" spc="50" baseline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/>
              <a:t>Thank </a:t>
            </a:r>
            <a:r>
              <a:rPr lang="en-US" err="1"/>
              <a:t>YOu</a:t>
            </a:r>
            <a:endParaRPr lang="en-US"/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1999334" y="3806677"/>
            <a:ext cx="4459287" cy="40410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cap="all" spc="5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9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1999334" y="4060097"/>
            <a:ext cx="2755900" cy="26732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err="1"/>
              <a:t>emailaddress@smartstart.org.z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2061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54A5B3-42DE-409B-9C66-152B073A4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9B8CCD-A924-4AD4-AE03-6F0FC31A976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B9D441-8443-4BE2-B865-06ED5724B4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9128F9B-EF09-400B-B374-217D7ECF7E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E0F32-4E2C-4325-891E-67C6A0FBBE3A}" type="datetimeFigureOut">
              <a:rPr lang="en-ZA" smtClean="0"/>
              <a:t>2023/06/05</a:t>
            </a:fld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1DBD1CB-54F4-4BD5-9DD7-3E0B85B9BD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DBECBC-9439-4DD1-9788-0AD8325FC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339637-8451-4471-8FFD-0EA50A721A25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535931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Option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_stacked+typ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866" y="5232402"/>
            <a:ext cx="1304101" cy="1076895"/>
          </a:xfrm>
          <a:prstGeom prst="rect">
            <a:avLst/>
          </a:prstGeom>
        </p:spPr>
      </p:pic>
      <p:pic>
        <p:nvPicPr>
          <p:cNvPr id="8" name="Picture 7" descr="duck3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52" t="15156"/>
          <a:stretch/>
        </p:blipFill>
        <p:spPr>
          <a:xfrm>
            <a:off x="1" y="-1"/>
            <a:ext cx="7559157" cy="5604143"/>
          </a:xfrm>
          <a:prstGeom prst="rect">
            <a:avLst/>
          </a:prstGeom>
        </p:spPr>
      </p:pic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776372" y="1765257"/>
            <a:ext cx="4459287" cy="536218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3200" cap="all" spc="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est of title</a:t>
            </a:r>
          </a:p>
          <a:p>
            <a:pPr lvl="0"/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776372" y="1276657"/>
            <a:ext cx="4459287" cy="592079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3200" b="1" i="0" cap="all" spc="50" baseline="0">
                <a:solidFill>
                  <a:schemeClr val="bg1"/>
                </a:solidFill>
                <a:latin typeface="Calibri"/>
                <a:cs typeface="Calibri"/>
              </a:defRPr>
            </a:lvl1pPr>
            <a:lvl2pPr marL="0" indent="0" algn="l">
              <a:spcBef>
                <a:spcPts val="0"/>
              </a:spcBef>
              <a:buFontTx/>
              <a:buNone/>
              <a:defRPr sz="3200" cap="all" baseline="0">
                <a:solidFill>
                  <a:schemeClr val="bg1"/>
                </a:solidFill>
              </a:defRPr>
            </a:lvl2pPr>
            <a:lvl3pPr marL="0" indent="0" algn="l">
              <a:buFontTx/>
              <a:buNone/>
              <a:defRPr sz="1800" cap="all" baseline="0">
                <a:solidFill>
                  <a:schemeClr val="accent3"/>
                </a:solidFill>
              </a:defRPr>
            </a:lvl3pPr>
            <a:lvl4pPr marL="0" indent="0" algn="l">
              <a:buFontTx/>
              <a:buNone/>
              <a:defRPr sz="1600" cap="all" baseline="0">
                <a:solidFill>
                  <a:schemeClr val="bg1"/>
                </a:solidFill>
              </a:defRPr>
            </a:lvl4pPr>
            <a:lvl5pPr marL="0" indent="0" algn="l">
              <a:buFontTx/>
              <a:buNone/>
              <a:defRPr sz="3200" cap="all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776372" y="2301475"/>
            <a:ext cx="4459287" cy="40410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pc="5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ECONDARY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776372" y="2705407"/>
            <a:ext cx="2755900" cy="3587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22" name="Picture 21" descr="TEXT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324" y="6238770"/>
            <a:ext cx="1601771" cy="83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8929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Option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ine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1426"/>
            <a:ext cx="9144000" cy="3067665"/>
          </a:xfrm>
          <a:prstGeom prst="rect">
            <a:avLst/>
          </a:prstGeom>
        </p:spPr>
      </p:pic>
      <p:sp>
        <p:nvSpPr>
          <p:cNvPr id="4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776372" y="4231515"/>
            <a:ext cx="4459287" cy="536218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3200" cap="all" spc="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est of title</a:t>
            </a:r>
          </a:p>
          <a:p>
            <a:pPr lvl="0"/>
            <a:endParaRPr lang="en-US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776372" y="3742915"/>
            <a:ext cx="4459287" cy="592079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3200" b="1" i="0" cap="all" spc="50" baseline="0">
                <a:solidFill>
                  <a:schemeClr val="bg1"/>
                </a:solidFill>
                <a:latin typeface="Calibri"/>
                <a:cs typeface="Calibri"/>
              </a:defRPr>
            </a:lvl1pPr>
            <a:lvl2pPr marL="0" indent="0" algn="l">
              <a:spcBef>
                <a:spcPts val="0"/>
              </a:spcBef>
              <a:buFontTx/>
              <a:buNone/>
              <a:defRPr sz="3200" cap="all" baseline="0">
                <a:solidFill>
                  <a:schemeClr val="bg1"/>
                </a:solidFill>
              </a:defRPr>
            </a:lvl2pPr>
            <a:lvl3pPr marL="0" indent="0" algn="l">
              <a:buFontTx/>
              <a:buNone/>
              <a:defRPr sz="1800" cap="all" baseline="0">
                <a:solidFill>
                  <a:schemeClr val="accent3"/>
                </a:solidFill>
              </a:defRPr>
            </a:lvl3pPr>
            <a:lvl4pPr marL="0" indent="0" algn="l">
              <a:buFontTx/>
              <a:buNone/>
              <a:defRPr sz="1600" cap="all" baseline="0">
                <a:solidFill>
                  <a:schemeClr val="bg1"/>
                </a:solidFill>
              </a:defRPr>
            </a:lvl4pPr>
            <a:lvl5pPr marL="0" indent="0" algn="l">
              <a:buFontTx/>
              <a:buNone/>
              <a:defRPr sz="3200" cap="all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776372" y="4767733"/>
            <a:ext cx="4459287" cy="40410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pc="5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ECONDARY TITLE</a:t>
            </a:r>
          </a:p>
        </p:txBody>
      </p:sp>
      <p:sp>
        <p:nvSpPr>
          <p:cNvPr id="7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776372" y="5171665"/>
            <a:ext cx="2755900" cy="3587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8" name="Picture 7" descr="logo_stacked+typ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866" y="5232402"/>
            <a:ext cx="1304101" cy="1076895"/>
          </a:xfrm>
          <a:prstGeom prst="rect">
            <a:avLst/>
          </a:prstGeom>
        </p:spPr>
      </p:pic>
      <p:pic>
        <p:nvPicPr>
          <p:cNvPr id="9" name="Picture 8" descr="TEXT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324" y="6238770"/>
            <a:ext cx="1601771" cy="83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3244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Option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rocke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1" y="1119441"/>
            <a:ext cx="7216175" cy="2207140"/>
          </a:xfrm>
          <a:prstGeom prst="rect">
            <a:avLst/>
          </a:prstGeom>
        </p:spPr>
      </p:pic>
      <p:pic>
        <p:nvPicPr>
          <p:cNvPr id="4" name="Picture 3" descr="logo_stacked+typ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866" y="5232402"/>
            <a:ext cx="1304101" cy="1076895"/>
          </a:xfrm>
          <a:prstGeom prst="rect">
            <a:avLst/>
          </a:prstGeom>
        </p:spPr>
      </p:pic>
      <p:sp>
        <p:nvSpPr>
          <p:cNvPr id="5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2021786" y="1863585"/>
            <a:ext cx="4459287" cy="536218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3200" cap="all" spc="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est of title</a:t>
            </a:r>
          </a:p>
          <a:p>
            <a:pPr lvl="0"/>
            <a:endParaRPr lang="en-US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021786" y="1374985"/>
            <a:ext cx="4459287" cy="592079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3200" b="1" i="0" cap="all" spc="50" baseline="0">
                <a:solidFill>
                  <a:schemeClr val="bg1"/>
                </a:solidFill>
                <a:latin typeface="Calibri"/>
                <a:cs typeface="Calibri"/>
              </a:defRPr>
            </a:lvl1pPr>
            <a:lvl2pPr marL="0" indent="0" algn="l">
              <a:spcBef>
                <a:spcPts val="0"/>
              </a:spcBef>
              <a:buFontTx/>
              <a:buNone/>
              <a:defRPr sz="3200" cap="all" baseline="0">
                <a:solidFill>
                  <a:schemeClr val="bg1"/>
                </a:solidFill>
              </a:defRPr>
            </a:lvl2pPr>
            <a:lvl3pPr marL="0" indent="0" algn="l">
              <a:buFontTx/>
              <a:buNone/>
              <a:defRPr sz="1800" cap="all" baseline="0">
                <a:solidFill>
                  <a:schemeClr val="accent3"/>
                </a:solidFill>
              </a:defRPr>
            </a:lvl3pPr>
            <a:lvl4pPr marL="0" indent="0" algn="l">
              <a:buFontTx/>
              <a:buNone/>
              <a:defRPr sz="1600" cap="all" baseline="0">
                <a:solidFill>
                  <a:schemeClr val="bg1"/>
                </a:solidFill>
              </a:defRPr>
            </a:lvl4pPr>
            <a:lvl5pPr marL="0" indent="0" algn="l">
              <a:buFontTx/>
              <a:buNone/>
              <a:defRPr sz="3200" cap="all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021786" y="2399803"/>
            <a:ext cx="4459287" cy="40410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pc="5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ECONDARY TITLE</a:t>
            </a:r>
          </a:p>
        </p:txBody>
      </p:sp>
      <p:sp>
        <p:nvSpPr>
          <p:cNvPr id="8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2021786" y="2803735"/>
            <a:ext cx="2755900" cy="35877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9" name="Picture 8" descr="TEXT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324" y="6238770"/>
            <a:ext cx="1601771" cy="83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8392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- Option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uck3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20"/>
          <a:stretch/>
        </p:blipFill>
        <p:spPr>
          <a:xfrm>
            <a:off x="1" y="93166"/>
            <a:ext cx="6907875" cy="66052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01077" y="2627921"/>
            <a:ext cx="7885723" cy="381000"/>
          </a:xfrm>
        </p:spPr>
        <p:txBody>
          <a:bodyPr/>
          <a:lstStyle>
            <a:lvl1pPr>
              <a:defRPr>
                <a:solidFill>
                  <a:schemeClr val="accent5"/>
                </a:solidFill>
                <a:latin typeface="Calibri Light"/>
                <a:cs typeface="Calibri Light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01689" y="2930525"/>
            <a:ext cx="4033837" cy="5969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 b="1" i="0" cap="all" spc="50" baseline="0">
                <a:solidFill>
                  <a:schemeClr val="accent5"/>
                </a:solidFill>
                <a:latin typeface="Calibri"/>
              </a:defRPr>
            </a:lvl1pPr>
            <a:lvl2pPr>
              <a:defRPr sz="2400" cap="all" baseline="0">
                <a:solidFill>
                  <a:schemeClr val="accent3"/>
                </a:solidFill>
              </a:defRPr>
            </a:lvl2pPr>
            <a:lvl3pPr>
              <a:defRPr sz="2400" cap="all" baseline="0">
                <a:solidFill>
                  <a:schemeClr val="accent3"/>
                </a:solidFill>
              </a:defRPr>
            </a:lvl3pPr>
            <a:lvl4pPr>
              <a:defRPr sz="2400" cap="all" baseline="0">
                <a:solidFill>
                  <a:schemeClr val="accent3"/>
                </a:solidFill>
              </a:defRPr>
            </a:lvl4pPr>
            <a:lvl5pPr>
              <a:defRPr sz="2400" cap="all" baseline="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section title</a:t>
            </a:r>
          </a:p>
        </p:txBody>
      </p:sp>
      <p:pic>
        <p:nvPicPr>
          <p:cNvPr id="7" name="Picture 6" descr="star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20"/>
          <a:stretch/>
        </p:blipFill>
        <p:spPr>
          <a:xfrm>
            <a:off x="0" y="2887345"/>
            <a:ext cx="801076" cy="775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3361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- Option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ine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572610"/>
            <a:ext cx="9144000" cy="3067665"/>
          </a:xfrm>
          <a:prstGeom prst="rect">
            <a:avLst/>
          </a:prstGeom>
        </p:spPr>
      </p:pic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01689" y="2930526"/>
            <a:ext cx="5880100" cy="64208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 b="1" i="0" cap="all" spc="50" baseline="0">
                <a:solidFill>
                  <a:schemeClr val="tx1"/>
                </a:solidFill>
                <a:latin typeface="Calibri"/>
              </a:defRPr>
            </a:lvl1pPr>
            <a:lvl2pPr>
              <a:defRPr sz="2400" cap="all" baseline="0">
                <a:solidFill>
                  <a:schemeClr val="accent3"/>
                </a:solidFill>
              </a:defRPr>
            </a:lvl2pPr>
            <a:lvl3pPr>
              <a:defRPr sz="2400" cap="all" baseline="0">
                <a:solidFill>
                  <a:schemeClr val="accent3"/>
                </a:solidFill>
              </a:defRPr>
            </a:lvl3pPr>
            <a:lvl4pPr>
              <a:defRPr sz="2400" cap="all" baseline="0">
                <a:solidFill>
                  <a:schemeClr val="accent3"/>
                </a:solidFill>
              </a:defRPr>
            </a:lvl4pPr>
            <a:lvl5pPr>
              <a:defRPr sz="2400" cap="all" baseline="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sec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801689" y="2599716"/>
            <a:ext cx="5880100" cy="52643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 cap="all" spc="50" baseline="0"/>
            </a:lvl1pPr>
            <a:lvl2pPr marL="0" indent="0">
              <a:buFontTx/>
              <a:buNone/>
              <a:defRPr sz="2400" cap="all" baseline="0"/>
            </a:lvl2pPr>
            <a:lvl3pPr marL="0" indent="0">
              <a:buFontTx/>
              <a:buNone/>
              <a:defRPr sz="2400" cap="all" baseline="0"/>
            </a:lvl3pPr>
            <a:lvl4pPr marL="0" indent="0">
              <a:buFontTx/>
              <a:buNone/>
              <a:defRPr sz="2400" cap="all" baseline="0"/>
            </a:lvl4pPr>
            <a:lvl5pPr marL="0" indent="0">
              <a:buFontTx/>
              <a:buNone/>
              <a:defRPr sz="2400" cap="all" baseline="0"/>
            </a:lvl5pPr>
          </a:lstStyle>
          <a:p>
            <a:pPr lvl="0"/>
            <a:r>
              <a:rPr lang="en-US"/>
              <a:t>Click to edit section title</a:t>
            </a:r>
          </a:p>
        </p:txBody>
      </p:sp>
      <p:pic>
        <p:nvPicPr>
          <p:cNvPr id="8" name="Picture 7" descr="star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20"/>
          <a:stretch/>
        </p:blipFill>
        <p:spPr>
          <a:xfrm>
            <a:off x="0" y="2887345"/>
            <a:ext cx="801076" cy="775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254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- Option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rocket_flip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32579">
            <a:off x="3077309" y="831088"/>
            <a:ext cx="6418385" cy="1963128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801077" y="2627921"/>
            <a:ext cx="7885723" cy="381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Calibri Light"/>
                <a:cs typeface="Calibri Light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01689" y="2930525"/>
            <a:ext cx="4033837" cy="5969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 b="1" i="0" cap="all" spc="50" baseline="0">
                <a:solidFill>
                  <a:schemeClr val="tx1"/>
                </a:solidFill>
                <a:latin typeface="Calibri"/>
              </a:defRPr>
            </a:lvl1pPr>
            <a:lvl2pPr>
              <a:defRPr sz="2400" cap="all" baseline="0">
                <a:solidFill>
                  <a:schemeClr val="accent3"/>
                </a:solidFill>
              </a:defRPr>
            </a:lvl2pPr>
            <a:lvl3pPr>
              <a:defRPr sz="2400" cap="all" baseline="0">
                <a:solidFill>
                  <a:schemeClr val="accent3"/>
                </a:solidFill>
              </a:defRPr>
            </a:lvl3pPr>
            <a:lvl4pPr>
              <a:defRPr sz="2400" cap="all" baseline="0">
                <a:solidFill>
                  <a:schemeClr val="accent3"/>
                </a:solidFill>
              </a:defRPr>
            </a:lvl4pPr>
            <a:lvl5pPr>
              <a:defRPr sz="2400" cap="all" baseline="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section title</a:t>
            </a:r>
          </a:p>
        </p:txBody>
      </p:sp>
      <p:pic>
        <p:nvPicPr>
          <p:cNvPr id="7" name="Picture 6" descr="star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20"/>
          <a:stretch/>
        </p:blipFill>
        <p:spPr>
          <a:xfrm>
            <a:off x="0" y="2887345"/>
            <a:ext cx="801076" cy="775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907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- Option 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ine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572610"/>
            <a:ext cx="9144000" cy="3067665"/>
          </a:xfrm>
          <a:prstGeom prst="rect">
            <a:avLst/>
          </a:prstGeom>
        </p:spPr>
      </p:pic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01689" y="2930526"/>
            <a:ext cx="5880100" cy="64208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 b="1" i="0" cap="all" spc="50" baseline="0">
                <a:solidFill>
                  <a:schemeClr val="tx1"/>
                </a:solidFill>
                <a:latin typeface="Calibri"/>
              </a:defRPr>
            </a:lvl1pPr>
            <a:lvl2pPr>
              <a:defRPr sz="2400" cap="all" baseline="0">
                <a:solidFill>
                  <a:schemeClr val="accent3"/>
                </a:solidFill>
              </a:defRPr>
            </a:lvl2pPr>
            <a:lvl3pPr>
              <a:defRPr sz="2400" cap="all" baseline="0">
                <a:solidFill>
                  <a:schemeClr val="accent3"/>
                </a:solidFill>
              </a:defRPr>
            </a:lvl3pPr>
            <a:lvl4pPr>
              <a:defRPr sz="2400" cap="all" baseline="0">
                <a:solidFill>
                  <a:schemeClr val="accent3"/>
                </a:solidFill>
              </a:defRPr>
            </a:lvl4pPr>
            <a:lvl5pPr>
              <a:defRPr sz="2400" cap="all" baseline="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sec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801689" y="2599716"/>
            <a:ext cx="5880100" cy="52643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 cap="all" spc="50" baseline="0"/>
            </a:lvl1pPr>
            <a:lvl2pPr marL="0" indent="0">
              <a:buFontTx/>
              <a:buNone/>
              <a:defRPr sz="2400" cap="all" baseline="0"/>
            </a:lvl2pPr>
            <a:lvl3pPr marL="0" indent="0">
              <a:buFontTx/>
              <a:buNone/>
              <a:defRPr sz="2400" cap="all" baseline="0"/>
            </a:lvl3pPr>
            <a:lvl4pPr marL="0" indent="0">
              <a:buFontTx/>
              <a:buNone/>
              <a:defRPr sz="2400" cap="all" baseline="0"/>
            </a:lvl4pPr>
            <a:lvl5pPr marL="0" indent="0">
              <a:buFontTx/>
              <a:buNone/>
              <a:defRPr sz="2400" cap="all" baseline="0"/>
            </a:lvl5pPr>
          </a:lstStyle>
          <a:p>
            <a:pPr lvl="0"/>
            <a:r>
              <a:rPr lang="en-US"/>
              <a:t>Click to edit section title</a:t>
            </a:r>
          </a:p>
        </p:txBody>
      </p:sp>
      <p:pic>
        <p:nvPicPr>
          <p:cNvPr id="8" name="Picture 7" descr="star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20"/>
          <a:stretch/>
        </p:blipFill>
        <p:spPr>
          <a:xfrm>
            <a:off x="0" y="2887345"/>
            <a:ext cx="801076" cy="775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1447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7B7AFEA-F3DF-4F58-B5C1-2FF392F38A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18696961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78" imgH="379" progId="TCLayout.ActiveDocument.1">
                  <p:embed/>
                </p:oleObj>
              </mc:Choice>
              <mc:Fallback>
                <p:oleObj name="think-cell Slide" r:id="rId25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7B7AFEA-F3DF-4F58-B5C1-2FF392F38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76777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1" r:id="rId3"/>
    <p:sldLayoutId id="2147483652" r:id="rId4"/>
    <p:sldLayoutId id="2147483653" r:id="rId5"/>
    <p:sldLayoutId id="2147483655" r:id="rId6"/>
    <p:sldLayoutId id="2147483656" r:id="rId7"/>
    <p:sldLayoutId id="2147483657" r:id="rId8"/>
    <p:sldLayoutId id="2147483667" r:id="rId9"/>
    <p:sldLayoutId id="2147483650" r:id="rId10"/>
    <p:sldLayoutId id="2147483671" r:id="rId11"/>
    <p:sldLayoutId id="2147483672" r:id="rId12"/>
    <p:sldLayoutId id="2147483658" r:id="rId13"/>
    <p:sldLayoutId id="2147483659" r:id="rId14"/>
    <p:sldLayoutId id="2147483660" r:id="rId15"/>
    <p:sldLayoutId id="2147483665" r:id="rId16"/>
    <p:sldLayoutId id="2147483666" r:id="rId17"/>
    <p:sldLayoutId id="2147483668" r:id="rId18"/>
    <p:sldLayoutId id="2147483669" r:id="rId19"/>
    <p:sldLayoutId id="2147483670" r:id="rId20"/>
    <p:sldLayoutId id="2147483661" r:id="rId21"/>
    <p:sldLayoutId id="2147483695" r:id="rId22"/>
  </p:sldLayoutIdLst>
  <p:txStyles>
    <p:titleStyle>
      <a:lvl1pPr algn="l" defTabSz="457200" rtl="0" eaLnBrk="1" latinLnBrk="0" hangingPunct="1">
        <a:spcBef>
          <a:spcPct val="0"/>
        </a:spcBef>
        <a:buNone/>
        <a:defRPr sz="2400" b="1" i="0" kern="1200" cap="all" spc="5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800" kern="1200" baseline="-25000">
          <a:solidFill>
            <a:schemeClr val="tx1"/>
          </a:solidFill>
          <a:latin typeface="Calibri Light"/>
          <a:ea typeface="+mn-ea"/>
          <a:cs typeface="Calibri Light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 baseline="-25000">
          <a:solidFill>
            <a:schemeClr val="tx1"/>
          </a:solidFill>
          <a:latin typeface="Calibri Light"/>
          <a:ea typeface="+mn-ea"/>
          <a:cs typeface="Calibri Light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 baseline="-25000">
          <a:solidFill>
            <a:schemeClr val="tx1"/>
          </a:solidFill>
          <a:latin typeface="Calibri Light"/>
          <a:ea typeface="+mn-ea"/>
          <a:cs typeface="Calibri Light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kern="1200" baseline="-25000">
          <a:solidFill>
            <a:schemeClr val="tx1"/>
          </a:solidFill>
          <a:latin typeface="Calibri Light"/>
          <a:ea typeface="+mn-ea"/>
          <a:cs typeface="Calibri Light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800" kern="1200" spc="50" baseline="-25000">
          <a:solidFill>
            <a:schemeClr val="tx1"/>
          </a:solidFill>
          <a:latin typeface="Calibri Light"/>
          <a:ea typeface="+mn-ea"/>
          <a:cs typeface="Calibri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9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20.png"/><Relationship Id="rId4" Type="http://schemas.openxmlformats.org/officeDocument/2006/relationships/image" Target="../media/image19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6F609AC-363A-3417-8342-AD08373759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7787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6F609AC-363A-3417-8342-AD08373759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5A40A464-3FF0-9E4C-27BD-8ABE10A831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1573" y="2579735"/>
            <a:ext cx="7772400" cy="707923"/>
          </a:xfrm>
        </p:spPr>
        <p:txBody>
          <a:bodyPr vert="horz"/>
          <a:lstStyle/>
          <a:p>
            <a:pPr algn="ctr"/>
            <a:r>
              <a:rPr lang="en-ZA" dirty="0" err="1"/>
              <a:t>COACh</a:t>
            </a:r>
            <a:r>
              <a:rPr lang="en-ZA" dirty="0"/>
              <a:t> planning tool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580E8624-788B-FF32-BFC7-4AA5101318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5359" y="3494638"/>
            <a:ext cx="7772400" cy="1183815"/>
          </a:xfrm>
        </p:spPr>
        <p:txBody>
          <a:bodyPr/>
          <a:lstStyle/>
          <a:p>
            <a:pPr algn="ctr"/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9957427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A635084-8C92-A0CB-A9D5-A88EE75EF8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215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A635084-8C92-A0CB-A9D5-A88EE75EF8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2CC1BC5-2541-EB4D-BF2D-C6B8DC21DF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48336"/>
            <a:ext cx="7772400" cy="707923"/>
          </a:xfrm>
        </p:spPr>
        <p:txBody>
          <a:bodyPr vert="horz"/>
          <a:lstStyle/>
          <a:p>
            <a:pPr algn="ctr"/>
            <a:r>
              <a:rPr lang="en-ZA" dirty="0"/>
              <a:t>Coach planning too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DC6FF1-7601-A8F8-ADF5-CFB1F79349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14" y="1644413"/>
            <a:ext cx="8935771" cy="412540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AA8BDF5-2DCA-45C2-2003-194A95D3B7B2}"/>
              </a:ext>
            </a:extLst>
          </p:cNvPr>
          <p:cNvSpPr/>
          <p:nvPr/>
        </p:nvSpPr>
        <p:spPr>
          <a:xfrm>
            <a:off x="1982708" y="1408438"/>
            <a:ext cx="1874068" cy="19585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900" dirty="0"/>
              <a:t>Select a coach or franchisor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1FA1946-2204-8F68-B808-228CDF89B247}"/>
              </a:ext>
            </a:extLst>
          </p:cNvPr>
          <p:cNvSpPr/>
          <p:nvPr/>
        </p:nvSpPr>
        <p:spPr>
          <a:xfrm>
            <a:off x="905347" y="1982710"/>
            <a:ext cx="1493821" cy="36213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800" dirty="0"/>
              <a:t>Check the coaches backlog based on summary from the model. </a:t>
            </a:r>
          </a:p>
        </p:txBody>
      </p:sp>
      <p:cxnSp>
        <p:nvCxnSpPr>
          <p:cNvPr id="15" name="Connector: Curved 14">
            <a:extLst>
              <a:ext uri="{FF2B5EF4-FFF2-40B4-BE49-F238E27FC236}">
                <a16:creationId xmlns:a16="http://schemas.microsoft.com/office/drawing/2014/main" id="{884DBB5E-9DE7-69A1-3AFC-8DAA8A9EB35D}"/>
              </a:ext>
            </a:extLst>
          </p:cNvPr>
          <p:cNvCxnSpPr>
            <a:cxnSpLocks/>
          </p:cNvCxnSpPr>
          <p:nvPr/>
        </p:nvCxnSpPr>
        <p:spPr>
          <a:xfrm rot="5400000">
            <a:off x="3386877" y="1358903"/>
            <a:ext cx="1256670" cy="715224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8634CCB3-9161-A595-62DC-D50A2FD4B5EB}"/>
              </a:ext>
            </a:extLst>
          </p:cNvPr>
          <p:cNvSpPr/>
          <p:nvPr/>
        </p:nvSpPr>
        <p:spPr>
          <a:xfrm>
            <a:off x="4300396" y="995881"/>
            <a:ext cx="1828800" cy="244444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800" dirty="0"/>
              <a:t>Summarised days the backlog will take to complete. </a:t>
            </a:r>
          </a:p>
        </p:txBody>
      </p:sp>
      <p:cxnSp>
        <p:nvCxnSpPr>
          <p:cNvPr id="21" name="Connector: Curved 20">
            <a:extLst>
              <a:ext uri="{FF2B5EF4-FFF2-40B4-BE49-F238E27FC236}">
                <a16:creationId xmlns:a16="http://schemas.microsoft.com/office/drawing/2014/main" id="{2FF247A4-6774-9C80-05BF-3B38A8638734}"/>
              </a:ext>
            </a:extLst>
          </p:cNvPr>
          <p:cNvCxnSpPr>
            <a:cxnSpLocks/>
          </p:cNvCxnSpPr>
          <p:nvPr/>
        </p:nvCxnSpPr>
        <p:spPr>
          <a:xfrm rot="5400000">
            <a:off x="7446546" y="1308214"/>
            <a:ext cx="776949" cy="51454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13E1E6F5-F36B-623B-77C9-6C7641AEE44F}"/>
              </a:ext>
            </a:extLst>
          </p:cNvPr>
          <p:cNvSpPr/>
          <p:nvPr/>
        </p:nvSpPr>
        <p:spPr>
          <a:xfrm>
            <a:off x="7025490" y="1153282"/>
            <a:ext cx="1828800" cy="244444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800" dirty="0"/>
              <a:t>Days left after the planning has happened.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5D2529C-44B8-9665-B346-0EDB20B5D723}"/>
              </a:ext>
            </a:extLst>
          </p:cNvPr>
          <p:cNvSpPr/>
          <p:nvPr/>
        </p:nvSpPr>
        <p:spPr>
          <a:xfrm>
            <a:off x="4182701" y="1644413"/>
            <a:ext cx="2725093" cy="1784587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72932-1B58-9893-A900-32F2675CA82F}"/>
              </a:ext>
            </a:extLst>
          </p:cNvPr>
          <p:cNvSpPr/>
          <p:nvPr/>
        </p:nvSpPr>
        <p:spPr>
          <a:xfrm>
            <a:off x="0" y="3429000"/>
            <a:ext cx="8750176" cy="2251991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B8D0BDE5-BE55-C012-99C2-C6D655D58DF2}"/>
              </a:ext>
            </a:extLst>
          </p:cNvPr>
          <p:cNvSpPr/>
          <p:nvPr/>
        </p:nvSpPr>
        <p:spPr>
          <a:xfrm>
            <a:off x="2607398" y="5902859"/>
            <a:ext cx="3014804" cy="42319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900" dirty="0"/>
              <a:t>Planning works hand in hand, the selected plan from the </a:t>
            </a:r>
            <a:r>
              <a:rPr lang="en-ZA" sz="900" dirty="0" err="1"/>
              <a:t>calender</a:t>
            </a:r>
            <a:r>
              <a:rPr lang="en-ZA" sz="900" dirty="0"/>
              <a:t> corresponds with the plans and calculates the days left. </a:t>
            </a:r>
          </a:p>
        </p:txBody>
      </p:sp>
    </p:spTree>
    <p:extLst>
      <p:ext uri="{BB962C8B-B14F-4D97-AF65-F5344CB8AC3E}">
        <p14:creationId xmlns:p14="http://schemas.microsoft.com/office/powerpoint/2010/main" val="4142728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410EA6A-033D-0A3D-A3E6-430CF35427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2461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410EA6A-033D-0A3D-A3E6-430CF3542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1C25152-8D8C-FD0C-CDD2-60B643AB68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289207"/>
            <a:ext cx="7772400" cy="707923"/>
          </a:xfrm>
        </p:spPr>
        <p:txBody>
          <a:bodyPr vert="horz"/>
          <a:lstStyle/>
          <a:p>
            <a:r>
              <a:rPr lang="en-ZA" dirty="0"/>
              <a:t>Coach planning tool – Power APP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2CA213-3155-5953-0256-D946CCC61F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211861"/>
            <a:ext cx="9144000" cy="543790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C3D9679-275E-5CE2-B6EA-3B0599CA78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5380" y="1964303"/>
            <a:ext cx="3548252" cy="439626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885D29F-C65A-61CC-7A53-FE6238D388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25380" y="1656539"/>
            <a:ext cx="3548252" cy="408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8551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2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2.66093099999999971317E+00&quot;&gt;&lt;m_msothmcolidx val=&quot;0&quot;/&gt;&lt;m_rgb r=&quot;1A&quot; g=&quot;E8&quot; b=&quot;D3&quot;/&gt;&lt;/elem&gt;&lt;elem m_fUsage=&quot;1.89999999999999991118E+00&quot;&gt;&lt;m_msothmcolidx val=&quot;0&quot;/&gt;&lt;m_rgb r=&quot;BC&quot; g=&quot;12&quot; b=&quot;5A&quot;/&gt;&lt;/elem&gt;&lt;elem m_fUsage=&quot;6.56100000000000127542E-01&quot;&gt;&lt;m_msothmcolidx val=&quot;0&quot;/&gt;&lt;m_rgb r=&quot;3F&quot; g=&quot;C2&quot; b=&quot;30&quot;/&gt;&lt;/elem&gt;&lt;elem m_fUsage=&quot;4.78296900000000135833E-01&quot;&gt;&lt;m_msothmcolidx val=&quot;0&quot;/&gt;&lt;m_rgb r=&quot;8F&quot; g=&quot;8D&quot; b=&quot;85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Start_template 2">
  <a:themeElements>
    <a:clrScheme name="SMARTSTART">
      <a:dk1>
        <a:srgbClr val="583F99"/>
      </a:dk1>
      <a:lt1>
        <a:sysClr val="window" lastClr="FFFFFF"/>
      </a:lt1>
      <a:dk2>
        <a:srgbClr val="8A79B8"/>
      </a:dk2>
      <a:lt2>
        <a:srgbClr val="FFFFFE"/>
      </a:lt2>
      <a:accent1>
        <a:srgbClr val="583F99"/>
      </a:accent1>
      <a:accent2>
        <a:srgbClr val="F37021"/>
      </a:accent2>
      <a:accent3>
        <a:srgbClr val="ED145B"/>
      </a:accent3>
      <a:accent4>
        <a:srgbClr val="00C0F3"/>
      </a:accent4>
      <a:accent5>
        <a:srgbClr val="FFDD00"/>
      </a:accent5>
      <a:accent6>
        <a:srgbClr val="50B848"/>
      </a:accent6>
      <a:hlink>
        <a:srgbClr val="D22258"/>
      </a:hlink>
      <a:folHlink>
        <a:srgbClr val="806DB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martStart_template_2020</Template>
  <TotalTime>124</TotalTime>
  <Words>67</Words>
  <Application>Microsoft Office PowerPoint</Application>
  <PresentationFormat>On-screen Show (4:3)</PresentationFormat>
  <Paragraphs>8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SmartStart_template 2</vt:lpstr>
      <vt:lpstr>think-cell Slide</vt:lpstr>
      <vt:lpstr>COACh planning tool</vt:lpstr>
      <vt:lpstr>Coach planning tool</vt:lpstr>
      <vt:lpstr>Coach planning tool – Power APPS</vt:lpstr>
    </vt:vector>
  </TitlesOfParts>
  <Company>Ki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UIDELINEs</dc:title>
  <dc:creator>Johannes Ranoko</dc:creator>
  <cp:lastModifiedBy>Lazola Javu</cp:lastModifiedBy>
  <cp:revision>1</cp:revision>
  <dcterms:created xsi:type="dcterms:W3CDTF">2021-02-19T08:27:56Z</dcterms:created>
  <dcterms:modified xsi:type="dcterms:W3CDTF">2023-06-06T11:34:59Z</dcterms:modified>
</cp:coreProperties>
</file>